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6141" r:id="rId5"/>
    <p:sldId id="26227" r:id="rId6"/>
    <p:sldId id="26226" r:id="rId7"/>
    <p:sldId id="26225" r:id="rId8"/>
    <p:sldId id="26223" r:id="rId9"/>
    <p:sldId id="26222" r:id="rId10"/>
    <p:sldId id="370" r:id="rId11"/>
    <p:sldId id="26217" r:id="rId12"/>
    <p:sldId id="424" r:id="rId13"/>
    <p:sldId id="426" r:id="rId14"/>
    <p:sldId id="346" r:id="rId15"/>
    <p:sldId id="396" r:id="rId16"/>
  </p:sldIdLst>
  <p:sldSz cx="12192000" cy="6858000"/>
  <p:notesSz cx="6858000" cy="9144000"/>
  <p:embeddedFontLst>
    <p:embeddedFont>
      <p:font typeface="Aino" panose="02000603040504020204" pitchFamily="50" charset="-70"/>
      <p:regular r:id="rId19"/>
      <p:bold r:id="rId20"/>
    </p:embeddedFont>
    <p:embeddedFont>
      <p:font typeface="Aino Headline" panose="020B0303040504020204" pitchFamily="34" charset="0"/>
      <p:regular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0078"/>
    <a:srgbClr val="0000F0"/>
    <a:srgbClr val="E6E7E8"/>
    <a:srgbClr val="964542"/>
    <a:srgbClr val="A7A9AB"/>
    <a:srgbClr val="2E7AA1"/>
    <a:srgbClr val="AD7351"/>
    <a:srgbClr val="8B7883"/>
    <a:srgbClr val="2B7AA1"/>
    <a:srgbClr val="FF4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56178" autoAdjust="0"/>
  </p:normalViewPr>
  <p:slideViewPr>
    <p:cSldViewPr snapToGrid="0" showGuides="1">
      <p:cViewPr varScale="1">
        <p:scale>
          <a:sx n="80" d="100"/>
          <a:sy n="80" d="100"/>
        </p:scale>
        <p:origin x="710" y="6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834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296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90A495-8294-4213-80EA-2FB2B3EE0D3F}" type="datetimeFigureOut">
              <a:rPr lang="en-GB" smtClean="0"/>
              <a:t>10/11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042D84-F9EC-4261-BCC9-A49D898D55C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7647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881D52-80C8-45C1-9EB6-8074EC72C5F0}" type="datetimeFigureOut">
              <a:rPr lang="et-EE" smtClean="0"/>
              <a:t>10.11.2020</a:t>
            </a:fld>
            <a:endParaRPr lang="et-E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t-E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8BBE68-A648-4330-ACDC-E8513DAD1182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330252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4A6D2-F1BF-4AA0-A252-2A8F0B804074}" type="slidenum">
              <a:rPr kumimoji="0" lang="et-E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t-E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1149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8BBE68-A648-4330-ACDC-E8513DAD1182}" type="slidenum">
              <a:rPr lang="et-EE" smtClean="0"/>
              <a:t>8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495557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8BBE68-A648-4330-ACDC-E8513DAD1182}" type="slidenum">
              <a:rPr lang="et-EE" smtClean="0"/>
              <a:t>9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505797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8BBE68-A648-4330-ACDC-E8513DAD1182}" type="slidenum">
              <a:rPr lang="et-EE" smtClean="0"/>
              <a:t>10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739244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g8e3f38866a_0_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12" name="Google Shape;512;g8e3f38866a_0_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273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573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Whit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icture Placeholder 74">
            <a:extLst>
              <a:ext uri="{FF2B5EF4-FFF2-40B4-BE49-F238E27FC236}">
                <a16:creationId xmlns:a16="http://schemas.microsoft.com/office/drawing/2014/main" id="{DC7BEA8D-7CE6-4EE6-AC4C-CF7E974937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62464" y="1628775"/>
            <a:ext cx="6774657" cy="4606277"/>
          </a:xfrm>
          <a:custGeom>
            <a:avLst/>
            <a:gdLst>
              <a:gd name="connsiteX0" fmla="*/ 3614631 w 8224014"/>
              <a:gd name="connsiteY0" fmla="*/ 0 h 5591735"/>
              <a:gd name="connsiteX1" fmla="*/ 5598498 w 8224014"/>
              <a:gd name="connsiteY1" fmla="*/ 0 h 5591735"/>
              <a:gd name="connsiteX2" fmla="*/ 5715308 w 8224014"/>
              <a:gd name="connsiteY2" fmla="*/ 3620 h 5591735"/>
              <a:gd name="connsiteX3" fmla="*/ 7234371 w 8224014"/>
              <a:gd name="connsiteY3" fmla="*/ 878448 h 5591735"/>
              <a:gd name="connsiteX4" fmla="*/ 7892519 w 8224014"/>
              <a:gd name="connsiteY4" fmla="*/ 1865547 h 5591735"/>
              <a:gd name="connsiteX5" fmla="*/ 8015651 w 8224014"/>
              <a:gd name="connsiteY5" fmla="*/ 3842845 h 5591735"/>
              <a:gd name="connsiteX6" fmla="*/ 7686700 w 8224014"/>
              <a:gd name="connsiteY6" fmla="*/ 4500829 h 5591735"/>
              <a:gd name="connsiteX7" fmla="*/ 5921501 w 8224014"/>
              <a:gd name="connsiteY7" fmla="*/ 5591735 h 5591735"/>
              <a:gd name="connsiteX8" fmla="*/ 2632066 w 8224014"/>
              <a:gd name="connsiteY8" fmla="*/ 5591735 h 5591735"/>
              <a:gd name="connsiteX9" fmla="*/ 989673 w 8224014"/>
              <a:gd name="connsiteY9" fmla="*/ 4713009 h 5591735"/>
              <a:gd name="connsiteX10" fmla="*/ 331770 w 8224014"/>
              <a:gd name="connsiteY10" fmla="*/ 3726317 h 5591735"/>
              <a:gd name="connsiteX11" fmla="*/ 141038 w 8224014"/>
              <a:gd name="connsiteY11" fmla="*/ 3363735 h 5591735"/>
              <a:gd name="connsiteX12" fmla="*/ 5609 w 8224014"/>
              <a:gd name="connsiteY12" fmla="*/ 2785901 h 5591735"/>
              <a:gd name="connsiteX13" fmla="*/ 0 w 8224014"/>
              <a:gd name="connsiteY13" fmla="*/ 2595225 h 5591735"/>
              <a:gd name="connsiteX14" fmla="*/ 0 w 8224014"/>
              <a:gd name="connsiteY14" fmla="*/ 2591929 h 5591735"/>
              <a:gd name="connsiteX15" fmla="*/ 13067 w 8224014"/>
              <a:gd name="connsiteY15" fmla="*/ 2401893 h 5591735"/>
              <a:gd name="connsiteX16" fmla="*/ 1240994 w 8224014"/>
              <a:gd name="connsiteY16" fmla="*/ 798860 h 5591735"/>
              <a:gd name="connsiteX17" fmla="*/ 2885752 w 8224014"/>
              <a:gd name="connsiteY17" fmla="*/ 141038 h 5591735"/>
              <a:gd name="connsiteX18" fmla="*/ 3431078 w 8224014"/>
              <a:gd name="connsiteY18" fmla="*/ 8759 h 559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224014" h="5591735">
                <a:moveTo>
                  <a:pt x="3614631" y="0"/>
                </a:moveTo>
                <a:lnTo>
                  <a:pt x="5598498" y="0"/>
                </a:lnTo>
                <a:lnTo>
                  <a:pt x="5715308" y="3620"/>
                </a:lnTo>
                <a:cubicBezTo>
                  <a:pt x="6328084" y="41760"/>
                  <a:pt x="6891179" y="363728"/>
                  <a:pt x="7234371" y="878448"/>
                </a:cubicBezTo>
                <a:lnTo>
                  <a:pt x="7892519" y="1865547"/>
                </a:lnTo>
                <a:cubicBezTo>
                  <a:pt x="8285402" y="2454800"/>
                  <a:pt x="8332393" y="3209402"/>
                  <a:pt x="8015651" y="3842845"/>
                </a:cubicBezTo>
                <a:lnTo>
                  <a:pt x="7686700" y="4500829"/>
                </a:lnTo>
                <a:cubicBezTo>
                  <a:pt x="7352413" y="5169447"/>
                  <a:pt x="6669028" y="5591784"/>
                  <a:pt x="5921501" y="5591735"/>
                </a:cubicBezTo>
                <a:lnTo>
                  <a:pt x="2632066" y="5591735"/>
                </a:lnTo>
                <a:cubicBezTo>
                  <a:pt x="1972108" y="5591887"/>
                  <a:pt x="1355759" y="5262123"/>
                  <a:pt x="989673" y="4713009"/>
                </a:cubicBezTo>
                <a:lnTo>
                  <a:pt x="331770" y="3726317"/>
                </a:lnTo>
                <a:cubicBezTo>
                  <a:pt x="255785" y="3612401"/>
                  <a:pt x="191863" y="3490885"/>
                  <a:pt x="141038" y="3363735"/>
                </a:cubicBezTo>
                <a:cubicBezTo>
                  <a:pt x="65190" y="3173982"/>
                  <a:pt x="20876" y="2979437"/>
                  <a:pt x="5609" y="2785901"/>
                </a:cubicBezTo>
                <a:lnTo>
                  <a:pt x="0" y="2595225"/>
                </a:lnTo>
                <a:lnTo>
                  <a:pt x="0" y="2591929"/>
                </a:lnTo>
                <a:lnTo>
                  <a:pt x="13067" y="2401893"/>
                </a:lnTo>
                <a:cubicBezTo>
                  <a:pt x="95041" y="1706649"/>
                  <a:pt x="545234" y="1076972"/>
                  <a:pt x="1240994" y="798860"/>
                </a:cubicBezTo>
                <a:lnTo>
                  <a:pt x="2885752" y="141038"/>
                </a:lnTo>
                <a:cubicBezTo>
                  <a:pt x="3060596" y="71075"/>
                  <a:pt x="3244249" y="26620"/>
                  <a:pt x="3431078" y="8759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348987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FD47A815-62B2-4B87-9313-8A2B500FE6B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619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FD47A815-62B2-4B87-9313-8A2B500FE6B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09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FD47A815-62B2-4B87-9313-8A2B500FE6B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444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Fu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33244" cy="974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9446704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994150"/>
            <a:ext cx="9446705" cy="2243138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07ADD55-CFF7-42D8-BCA2-8E8EA4B58B8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ABF2C384-D61B-4D41-AD31-C7B8A63EE3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F4CDB79F-6EFE-4032-A063-DAA5DACA3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14FB6363-A0C5-4B24-A8E4-90824F4053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E56B41CE-903C-422F-8D3D-ABA84D8708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C31D6353-872C-42E8-8DE6-DD3A2DAD2A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0D6028D8-2545-4E42-B1A0-8E0B352072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F1F72470-BB23-4940-9E9B-9E878F4E8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11FA7B1F-DDB1-4229-A88D-962513CF7C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869517EA-0946-403C-9A01-C518178DDF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4F49EDBC-60E2-44C2-B7B9-855AB9E52E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2351C069-35DB-43DA-BE0D-2F9055E2A9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DBCCB3D9-D8A5-475F-9483-DBC5FFBD05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878A9998-C0C1-4DB5-B13B-4737687FFC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2E533B01-A949-4752-AF54-9ADC13E365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786BE1F0-F0A9-4DEC-A835-02BFB3822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7AADE267-78F0-4B19-AD00-AD566B8719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D0360A16-CFC7-41B5-844E-CE7F5AB5DD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96F8B4F2-BE38-4C5B-A2E4-CD13717798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DEBB5309-C7D2-4495-97B0-D3A37650E8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A97BC3B5-5528-4D10-BC9E-09051BE211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79B2BB9C-5A74-4F38-B96E-2F28BB328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86234E5E-18ED-4A31-BA60-4138705443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68CCB502-03A3-404A-8B11-D0AE6E0B12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1B8C215D-0CEA-4796-935B-61DDFCC4D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C392FB94-F3B9-4326-92AD-7E94EF1220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952EB94C-231E-4711-8038-D98623119F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D3F3CF6B-78F7-4811-BCE6-9F8410B609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994B7DA7-BF18-434A-87CE-B6C4079CDC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255AD87F-3058-4CB8-BE98-552C18A7FD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701BC3C4-7B52-4751-8317-084E2F8DB1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D62E3F14-BAE9-4104-A09A-8D2DB820B5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4A8CE354-A5F1-4E37-8D49-72A1259CDF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384FA4A9-4114-4518-A789-B5B04558AD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AC6B216E-C739-4D58-BA05-06196DCC5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010A4F0B-AA5E-47BC-8F52-4037E25DFC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E0BC943D-E726-4BB7-8627-A2D350D7B3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79C9939E-F2F7-4061-9CC9-CCA99982D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2">
              <a:extLst>
                <a:ext uri="{FF2B5EF4-FFF2-40B4-BE49-F238E27FC236}">
                  <a16:creationId xmlns:a16="http://schemas.microsoft.com/office/drawing/2014/main" id="{4E639F3A-5C7F-4EFF-9CCA-6E3537F124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3">
              <a:extLst>
                <a:ext uri="{FF2B5EF4-FFF2-40B4-BE49-F238E27FC236}">
                  <a16:creationId xmlns:a16="http://schemas.microsoft.com/office/drawing/2014/main" id="{229D4D7C-8F28-410C-BDB1-76CA0BCD00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4">
              <a:extLst>
                <a:ext uri="{FF2B5EF4-FFF2-40B4-BE49-F238E27FC236}">
                  <a16:creationId xmlns:a16="http://schemas.microsoft.com/office/drawing/2014/main" id="{B7152AA2-4796-48E8-9348-390F8CCE1D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5">
              <a:extLst>
                <a:ext uri="{FF2B5EF4-FFF2-40B4-BE49-F238E27FC236}">
                  <a16:creationId xmlns:a16="http://schemas.microsoft.com/office/drawing/2014/main" id="{53E6F458-DE79-4D94-A35D-A109064A0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687DAE65-6EBC-48A5-99FE-72B9DFFB74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BFB5F4F3-32A0-43C2-B845-6CCF5861A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138B05A0-22E7-4935-9CE9-E6FD3D2733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9">
              <a:extLst>
                <a:ext uri="{FF2B5EF4-FFF2-40B4-BE49-F238E27FC236}">
                  <a16:creationId xmlns:a16="http://schemas.microsoft.com/office/drawing/2014/main" id="{33093BF1-0BC8-44DC-B0C0-CAFABD7EE9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0">
              <a:extLst>
                <a:ext uri="{FF2B5EF4-FFF2-40B4-BE49-F238E27FC236}">
                  <a16:creationId xmlns:a16="http://schemas.microsoft.com/office/drawing/2014/main" id="{60B9D79E-D08C-415D-A9B0-70FD774361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DF94D9EB-FECC-45FB-A427-27D46E9613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2">
              <a:extLst>
                <a:ext uri="{FF2B5EF4-FFF2-40B4-BE49-F238E27FC236}">
                  <a16:creationId xmlns:a16="http://schemas.microsoft.com/office/drawing/2014/main" id="{832CEADC-51A9-4E7D-96BB-4E6861675C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3">
              <a:extLst>
                <a:ext uri="{FF2B5EF4-FFF2-40B4-BE49-F238E27FC236}">
                  <a16:creationId xmlns:a16="http://schemas.microsoft.com/office/drawing/2014/main" id="{BB4D0E50-84E9-4175-BA4B-06AC47AAE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16426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NoSub">
    <p:bg>
      <p:bgPr>
        <a:solidFill>
          <a:srgbClr val="000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9495473" cy="1617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2276475"/>
            <a:ext cx="9495473" cy="3960813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E1AB0D6-C629-4EEB-A5D7-F9F7EA9E31A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B8C8319-7B40-49EA-9C13-76600AF49E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238CDA77-24CC-4551-A61E-59AE98BC7B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EEDDEC5B-F447-471C-8F8F-A537F04191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43820CEA-F8A3-4E25-94D2-D2D474E012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282D0300-D00D-42AB-98B3-AD567AB87F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A15C91E3-00D6-45E2-8594-CA1874F0C3D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6E31F8DC-21D2-4FAC-8462-F6F6456A43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B3AA5AFF-D786-49DB-83C0-5271BCE091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A4963788-9D6C-43DB-9D75-A015E7BABD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5A3007DA-8397-4403-AD8E-EF617F2D91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74CDD2C5-29FF-4803-965C-EDB9ECFEF4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09B1184B-45E5-44AB-91A8-25F2593BA4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8B80E98D-DF75-46E4-AB4F-589D3EC7E7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CCA3F891-37F9-474F-8735-0502B22689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12454753-EF67-4D3F-991C-41310BEDC2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1666808F-0541-412E-AEBA-8C5AFD884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1AA51171-2900-4A8D-9795-2103AAB936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8555F03B-1AEA-4204-85BF-241FD1D993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4BAB06DC-7981-4AE3-9251-92AB837486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91FDCE6F-E0CC-4EBC-8FF7-16BCDB9D76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BCFAE769-3FE9-417C-8D93-5CC0CE32E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F8F7AB6-30A0-483E-B929-F5FD8ACE49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A6C50CEE-62FA-4DD9-8D09-9EFEEC61AC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65F24D25-B943-4C27-B7D9-4B4DCC7BC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19958AD8-10C3-49DC-9D0D-A726A060B0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EDC86B94-970B-4365-8F0A-B65D3FFE72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9FA1FD8C-D9C8-4DDB-B668-82760112FE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B2B4101A-A7AC-45CD-A1E0-D46E6E417A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CBDE110A-9CF3-41ED-9EFD-B201D3208A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EA042934-64CE-45E8-A5B2-C7C09F7871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A1E46500-11EB-4C92-B00C-2B66E4E7AB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85B06E20-CF3A-494B-B405-A034A1A2BC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16B8DC7E-8335-4042-99EA-B6DEDA4347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B17F907E-D57C-4C95-BBCD-74D4F75A5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3CFD92AD-585B-43F9-947A-B53920202E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578E97A6-5A7B-4908-9C23-CC616B4B99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DDD273DE-9AB5-40D1-8C91-9672A9D17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03286B7A-D33B-412D-AABF-A271C5D581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45CB3B2E-8296-487D-A8A5-611B826FEE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5B7AE700-58AD-499C-8320-28451C8305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E8647062-E9DF-46DE-83B6-1BA5FB828B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29E586D1-190E-4BE2-9F58-F13E457282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F50D709D-F80A-44C5-BA43-845B3C4179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EC3DA0F8-3218-41D9-BDEF-0C74C13F38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3C06A4D1-3655-435C-B92C-F1006666AC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685A4CDE-495E-4DFF-9C98-70B0A1F012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72E5B359-BE18-4CF7-AAED-2C31B40F2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BE94B7E2-D892-4CA1-AB28-0680F4452B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3384AA7A-2D98-4739-B7FA-6741723BDA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686134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2Col">
    <p:bg>
      <p:bgPr>
        <a:solidFill>
          <a:srgbClr val="000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6" y="658801"/>
            <a:ext cx="10946875" cy="974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0"/>
            <a:ext cx="10946874" cy="643036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1" cy="2808288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17B94DB-0403-4A70-8B86-71120EA324E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4140D41D-2793-46B3-8971-FB19656E59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0DE87827-E2F1-47C8-9F24-A20C154247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09BFA1EA-0604-40E4-8297-7EAC5F299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AC8A31AE-4025-43C6-9792-D76B883F46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30C9FEFB-91B6-428D-821C-5179F5A012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FE0E7AB9-ED9F-44BA-83C4-4121AACFC9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5C5F0CA4-6A81-4B01-973E-153BCDE13C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D8736557-98AC-4B7B-BCE1-30794C74A6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9C2542F2-460E-4BF6-896B-F97A621420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1F89496F-BED5-4AC5-ACB4-A8242840C9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35FC17CE-8CA8-4EF9-B60C-F54CDDC45B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52CC5785-7477-4191-94C7-6FBAFF9CF3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2CBEA86D-5300-4895-A55F-5710936678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0BFD67DE-2898-41B3-9A00-507E56B0B4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DDE0D2F3-0AFA-407B-AFA4-D899F9B70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FC97CCF2-9A1D-4C38-8F3E-AD86F9D75E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1EDDD681-9156-4D8A-9E4A-DC2DA34070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19CD46F2-F544-4AB4-A3B4-FEF48FDBF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F9F78306-0497-4FEC-820C-B1493A5CC8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9664A9EB-BA88-480B-BC19-2D26B8A5A7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57D18363-1635-4E0C-A7B7-E3FAE44DC0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40E65B91-DCF4-4283-B015-FC82AA756D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49AC3FA6-48DE-49B9-B65E-576E19F73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1F4AC720-75DB-40B5-8C2E-FA471BDB6E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17FA70C6-9C26-4C28-BD90-A327D38E14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A0623C03-E43C-4FFA-B260-0084133321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9904097F-6EFC-413E-A46F-3B70068909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4A04ABB1-B667-441A-813B-C70275EF0B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B8AE7F4D-C0E1-4E6F-B092-15AB8DFF07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1D781691-5942-4D77-BF7E-418E489C4E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8028309D-DCD4-4EB4-9481-1CA3C9ACB8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474F91E7-2BE5-48E4-94F1-0CAB8A0DD6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DF8F1DC5-A744-4982-98F2-E05F96BC4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19449632-BE19-47E2-A1A2-F68413BFF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79BA5207-5FA4-4870-9DB7-7A85FF15B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49AE4967-CA37-4FB3-8F1F-FBE2A9D39F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E399240B-8F88-4E19-80ED-405D24F4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8233BDDE-C7D9-4E3B-A31D-7C953F1375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30FB5BC2-02D9-42CB-B265-EDD26652AC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478F5A5E-5C6A-430D-8ADC-B8F7AD005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FE02BE90-CD06-4E68-93F2-1A0CF3AA7F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1B303704-290E-45A6-907C-2B6BE3D8B9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671BC714-F4F3-4F4B-BC75-CD053F14F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BFD5364E-B7FB-4FE3-AFEE-6E669A5DB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EC83FBC2-E859-410A-B462-EC4BE15011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DBA6E912-5FFF-48C6-85B1-84F6F6456B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7E5523A5-F3CF-428C-92C2-BA42AA62E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4485F77D-5732-434E-BCC9-1AD634D3F6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9456298B-3ECB-459A-B3DD-8A4317CDFA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4524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2Col_NoSub">
    <p:bg>
      <p:bgPr>
        <a:solidFill>
          <a:srgbClr val="000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2" cy="2808288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CF7B2A9-9235-4203-9F2C-F75B22B7F60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04804A06-DBEC-4602-9A4A-FBB36517AC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96045F5F-B7D5-4704-85A4-1EED65D2B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BB214C63-4503-427F-84EC-B2260AD196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4510351F-AE40-49A0-A43C-37F7035AB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49B4A654-111A-4ABD-A08C-2FF8365EE5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8EC69D82-8ADF-4ABB-90C3-7A727DFE41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E25B42C9-A55A-4B41-ADEA-437C5BE4DF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33A72EA9-0568-4D00-8C29-91A3056C55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DCD84849-0B02-4425-8A37-1F7E885AD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DF2916CA-AB11-4FEA-BEF4-0E1D120CB2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0EF0240F-AD6B-4BD8-A446-4D61686B76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8317B79A-127E-4784-B8BD-68341E3704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8540A229-3AAF-46D1-A9A2-8D70AE500A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09461E89-EE53-4533-9E9E-99F285028A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A5F06724-EF8E-424C-ACE8-FD1F71B2D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EE7B0C02-981E-48C3-A5BF-14362FE7DE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751265EE-00BD-4BF9-A0FC-3177C59CAC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1325F038-710B-4B18-948F-8C4F8A3C2B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A5014819-B7EB-45E3-8CE8-C55C320F6C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9BA896E7-CE07-4C8F-BEB3-EC00AA929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69B52243-9083-4A9F-BDDD-2D813E215E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CA22AF7F-BAEB-4F6C-A200-DED39C9C98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989B4240-2870-496F-ABD0-2C1A215B90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90CA1A0C-A36A-4D46-9BCF-B217D8D064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FC413330-F66B-4984-81B5-46BB085D2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8C7B6F8D-255E-4ACD-B612-7A0F98ED16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10AB034D-003E-424F-BFCC-FA8F720398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DACD9D35-CB73-420F-A2D7-E40C856B44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54CF742D-5330-46E2-BBA0-89D8FFD52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865B1ABC-E1B6-4BD1-8457-406CC4084A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96DE0CE7-E87C-460D-8A45-517F29B18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545C8412-E902-48BD-90C7-D78429D12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42611030-2E69-4CDA-80C8-74563B7BCF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CFD4E8DE-DDCD-4EDE-91E9-0C121D4DE6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BFA95173-7E9A-4B04-89CB-E3E606BC47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7E7A5074-766B-4235-A2E4-BFB03EE286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06738942-3343-453A-9686-B007231488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BEDE71EC-FDAC-4CD5-8F6F-65565AED5D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CF098668-C44A-4C6F-8B11-6A97C73C4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9E2DD28D-92D1-4EDF-8115-218B0DC3B0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010B9F22-E54C-44B0-B7F0-8C8F40B9B8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309A7394-5534-4554-82CD-78EC81C00F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FB047175-FB3C-412C-8132-0C30EA0BE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0DD5DC16-FC93-415E-AE77-2F30245D14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7C3007A0-25FC-4471-91B3-A62F2C4C18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F40581C3-C4E6-43F7-A476-8B9A96D1A6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B9B50C64-9AAD-41BD-9878-8869B4FAAF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141731D2-64CF-4B03-BC24-0843AF203D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45A9BFBC-6BD2-4904-B3EE-85E1D727B6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5886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6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9446704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994150"/>
            <a:ext cx="9446705" cy="2243138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93682BA-159D-49E0-A3CD-CD9959B3C37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0B12B8D1-9956-4075-9FDE-C229291A5A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E2C69AD0-A1F0-43F3-B32E-A65AAC6AB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63235623-FF67-4E7B-9D85-34B667924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285AD912-C534-44F4-BDC3-AC95E6D9F1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B6A3918E-9F74-47F8-8AE5-8E6A4292E8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D1167324-3A76-40E9-90E8-DD2F7E90D2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71DFA1E4-EDBD-4FDA-B533-71F357D08A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D860C18C-0E82-4B89-B4C1-FD1E1A6EFA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9D94FF2-9E5E-4B44-BDA7-82F14D6D7E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42340AE9-E49D-404A-A81C-6D6A8433F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EEE6F38-4C98-4407-BDBF-81CAB5B5C9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3D12D65B-453D-49DB-8EC1-306D1D106D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E76289FB-D4EB-4A62-9789-E3E67A2DF0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806B249F-EAEA-4B3C-AF89-906B8E6A36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48F58A20-7395-4FED-9FCB-A0C36E7D1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611620B0-A38D-47EE-B5D3-97C8FEB954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CD024043-158E-41CF-8446-B47EA0A729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F02DEDC5-166B-41C9-A9A7-5A92F50F6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12E64235-48A5-4C09-9365-1482B9457D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8065626D-7190-49C0-9AA0-362B4E83FF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8C3A2CBC-40B9-4E64-925B-DAB3C9C52A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29F51A37-4832-4911-95F7-B756E4A042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B1F19DF7-80FD-4995-90AC-2738B59078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CB212349-F6C6-4687-A480-BC765D7F9C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82F79280-CBCB-4396-8993-EB99166AE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46068663-17C1-4FAB-8670-CE09F25DCB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8CA4FD5A-63BB-4C19-8C71-D8667A77D7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E5899F74-984A-45C4-8B5A-D3DA5189A1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586CD994-7373-466E-9958-E9107A27A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E0E7B435-B595-4558-BBF5-7D35A415E3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EC6CDA4B-FA92-4CC6-AAB8-AC7D82242C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81D60859-37D3-409A-995F-B45A9B6687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3F5D0569-5C64-481E-B7DD-E13F175BA1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C855484A-C666-435B-A23B-11E2F0C349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2EE7BA80-7618-42F8-8ED2-C90F21042C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E947C8F6-7516-4A4F-8C88-76ACD3A995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D082817B-6C0F-4B1B-A361-F276F3F5F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2">
              <a:extLst>
                <a:ext uri="{FF2B5EF4-FFF2-40B4-BE49-F238E27FC236}">
                  <a16:creationId xmlns:a16="http://schemas.microsoft.com/office/drawing/2014/main" id="{CAF54DB4-20CD-4A8A-AE38-B32036849E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3">
              <a:extLst>
                <a:ext uri="{FF2B5EF4-FFF2-40B4-BE49-F238E27FC236}">
                  <a16:creationId xmlns:a16="http://schemas.microsoft.com/office/drawing/2014/main" id="{1A3F815C-7645-4763-9C5D-138805084D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4">
              <a:extLst>
                <a:ext uri="{FF2B5EF4-FFF2-40B4-BE49-F238E27FC236}">
                  <a16:creationId xmlns:a16="http://schemas.microsoft.com/office/drawing/2014/main" id="{B9FA719A-5F59-401B-81C9-E79595F7D1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5">
              <a:extLst>
                <a:ext uri="{FF2B5EF4-FFF2-40B4-BE49-F238E27FC236}">
                  <a16:creationId xmlns:a16="http://schemas.microsoft.com/office/drawing/2014/main" id="{499151B1-1063-4AF9-A70B-B15637A23B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6A1094C8-8BAB-4647-BACA-E5FEC6764B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90274F2B-827F-4303-83D1-28B2C21B7B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0CFBAF88-E4E1-4760-97E1-780A2E4AA2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9">
              <a:extLst>
                <a:ext uri="{FF2B5EF4-FFF2-40B4-BE49-F238E27FC236}">
                  <a16:creationId xmlns:a16="http://schemas.microsoft.com/office/drawing/2014/main" id="{4AB10AFC-CAA3-4F1A-8068-733CEE3F4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0">
              <a:extLst>
                <a:ext uri="{FF2B5EF4-FFF2-40B4-BE49-F238E27FC236}">
                  <a16:creationId xmlns:a16="http://schemas.microsoft.com/office/drawing/2014/main" id="{5684FA2B-8F7E-4E5B-B94D-BE6A55B30D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C64B1D25-2514-4092-99A3-FB7471AF97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2">
              <a:extLst>
                <a:ext uri="{FF2B5EF4-FFF2-40B4-BE49-F238E27FC236}">
                  <a16:creationId xmlns:a16="http://schemas.microsoft.com/office/drawing/2014/main" id="{F2BABF96-87D4-49FE-BAD6-14BC4CC7E1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3">
              <a:extLst>
                <a:ext uri="{FF2B5EF4-FFF2-40B4-BE49-F238E27FC236}">
                  <a16:creationId xmlns:a16="http://schemas.microsoft.com/office/drawing/2014/main" id="{1712BFE0-F288-478F-A0C8-74EC089399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361569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NoSu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9495473" cy="161767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2276475"/>
            <a:ext cx="9495473" cy="3960813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7590403-7B37-40AF-AC98-20731340A5E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11E00F38-903F-4192-BD8A-43AA48AD26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ADFE048-2AAC-4274-AD31-C9C127116F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B9FC9847-0A71-466F-907F-AA489C72F3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6EB6D8C-5456-4EB0-9EE3-C7140CB273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03E5F2E-ECC8-4142-88FA-8D4D6E9E96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A28BF9CD-0042-4594-9B51-C6CEF91D24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584A7DC5-776D-4A90-9A1A-80A79FA897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FAEDE3B8-8EEF-4D87-A028-EE9E99481DD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AFA67D9D-787C-49E6-B711-DCB0805E19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88214D81-BC87-44A0-81A0-BFC4CAD39F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78912043-7FD1-453B-8BFE-D3E68C878C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9929F62-4525-4906-A155-D4D4EBAFE7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09418ED3-3EA4-4DFD-B244-ED0884700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C8A55681-BB4A-476F-A17B-30A1C89526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5F84CAF3-B7D9-45CB-96C7-BB87E15BA9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B8FB51B-A982-44D2-907C-B2ED4CEEA9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30CDC0DF-BF24-4A2A-A47D-45405C0201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475DD08C-605E-44A2-B26E-B18B078E6A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EA7F2ADF-40D9-46D9-B7BF-9BBBD96A56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EAA84072-9614-4299-AD08-ED25A8FBBE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646BA53B-464B-4404-8509-C3B9B08945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553E7698-0B77-4957-8F03-EBCDE11FF5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7731B276-FC08-434C-9C62-03029EC5D8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1BF7F502-223E-4793-BF48-6EB5558E3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6DA6E5F9-6BFF-46FA-9FD0-8A6E9FA5B3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A9CACA2D-BCB5-430E-92BA-EEB7CF4A3F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A442CF75-B1AF-4674-B3CB-768EDCF3E7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A8392019-1571-4884-A73C-A12724235B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120517FF-0B6D-419D-93A1-4C6F15D429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0FFBDA16-E99F-4CE3-90F6-29A903F0C2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FD6885F1-8973-4FBF-B068-F2193EB156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4480E8CB-28B4-4911-8D6C-754C032C2B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3CD65424-8954-413B-A3BE-EF0E2629D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2D9618CA-3126-4D71-BD53-30D8B4F66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14FF7058-6917-46E1-8C9E-82CB517799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1D46AB07-0E79-4F9A-B7CD-F4E62C9E5F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BB691146-FEB3-428C-AE85-3C0BFD4572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61BE0262-7C44-4206-81F8-CC36094CE3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53CFD4A9-443A-411D-8FC0-8DF6DFBDFD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7A6B7638-B33A-4924-9105-28ECE4E3AE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7DA51CC0-B89E-4416-A073-511715D43B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1C704B63-D84D-4236-9C37-235A16AAFA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395F8393-61B7-4CFB-B2F5-99F55E2A36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DE7412D9-2211-488B-9F11-B5D55713A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DAFC17DB-76C9-4C85-A39E-BDF6E82BE6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7D5851FD-491F-4C33-BF85-317678AAA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4192BAD7-6F6F-4C5A-8EF9-B51239309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810BEE32-3849-4D6B-932A-16211DA144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F05CFAE6-601D-4436-BD8F-C0D410639A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54955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Dark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CC25C14-4D00-4EC5-97D8-4A31899EAC0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76324" y="2"/>
            <a:ext cx="6315676" cy="6857999"/>
          </a:xfrm>
          <a:custGeom>
            <a:avLst/>
            <a:gdLst>
              <a:gd name="connsiteX0" fmla="*/ 3428610 w 6315676"/>
              <a:gd name="connsiteY0" fmla="*/ 0 h 6857999"/>
              <a:gd name="connsiteX1" fmla="*/ 6315676 w 6315676"/>
              <a:gd name="connsiteY1" fmla="*/ 0 h 6857999"/>
              <a:gd name="connsiteX2" fmla="*/ 6315676 w 6315676"/>
              <a:gd name="connsiteY2" fmla="*/ 6857999 h 6857999"/>
              <a:gd name="connsiteX3" fmla="*/ 3428590 w 6315676"/>
              <a:gd name="connsiteY3" fmla="*/ 6857999 h 6857999"/>
              <a:gd name="connsiteX4" fmla="*/ 3202718 w 6315676"/>
              <a:gd name="connsiteY4" fmla="*/ 6846813 h 6857999"/>
              <a:gd name="connsiteX5" fmla="*/ 1812516 w 6315676"/>
              <a:gd name="connsiteY5" fmla="*/ 6188665 h 6857999"/>
              <a:gd name="connsiteX6" fmla="*/ 669443 w 6315676"/>
              <a:gd name="connsiteY6" fmla="*/ 5045594 h 6857999"/>
              <a:gd name="connsiteX7" fmla="*/ 669443 w 6315676"/>
              <a:gd name="connsiteY7" fmla="*/ 1812693 h 6857999"/>
              <a:gd name="connsiteX8" fmla="*/ 1812516 w 6315676"/>
              <a:gd name="connsiteY8" fmla="*/ 669624 h 6857999"/>
              <a:gd name="connsiteX9" fmla="*/ 3428610 w 6315676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15676" h="6857999">
                <a:moveTo>
                  <a:pt x="3428610" y="0"/>
                </a:moveTo>
                <a:lnTo>
                  <a:pt x="6315676" y="0"/>
                </a:lnTo>
                <a:lnTo>
                  <a:pt x="6315676" y="6857999"/>
                </a:lnTo>
                <a:lnTo>
                  <a:pt x="3428590" y="6857999"/>
                </a:lnTo>
                <a:lnTo>
                  <a:pt x="3202718" y="6846813"/>
                </a:lnTo>
                <a:cubicBezTo>
                  <a:pt x="2679515" y="6794849"/>
                  <a:pt x="2187539" y="6563563"/>
                  <a:pt x="1812516" y="6188665"/>
                </a:cubicBezTo>
                <a:lnTo>
                  <a:pt x="669443" y="5045594"/>
                </a:lnTo>
                <a:cubicBezTo>
                  <a:pt x="-223147" y="4152860"/>
                  <a:pt x="-223147" y="2705572"/>
                  <a:pt x="669443" y="1812693"/>
                </a:cubicBezTo>
                <a:lnTo>
                  <a:pt x="1812516" y="669624"/>
                </a:lnTo>
                <a:cubicBezTo>
                  <a:pt x="2240971" y="241023"/>
                  <a:pt x="2822466" y="0"/>
                  <a:pt x="3428610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79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2Co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6" y="658801"/>
            <a:ext cx="10946875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6" y="1633440"/>
            <a:ext cx="10946875" cy="643036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1" cy="2808288"/>
          </a:xfrm>
        </p:spPr>
        <p:txBody>
          <a:bodyPr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00069A8-6F09-45BE-9DB2-D361FBF2FE2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F279CD1D-5E39-49D4-9745-6E2502ADE9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7123FD9F-BF3F-4B7E-A9A0-823540FF11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D17BE589-1DE2-42F9-B4CB-E054BC0F7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A6CB1A9-C0A2-4D87-8187-801DC72D86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8F24C10A-EA9A-4AB8-B65A-4B569E50D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C605FBFF-4509-479F-BFC8-464ACE6A6A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7C6B946C-0451-4C06-9BFE-F67F8804DA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EF438542-E8B7-4172-9DBC-6B802F7241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368E20E-1763-4ECE-8CBF-2017B3CD7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C6B0613E-9F0F-4E40-80F5-2DA19A3ED1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586D24ED-BAB5-43ED-9781-8B6548E3F9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69718D93-6E11-4102-86D5-C790EDD2DE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56584BC0-6E4C-4262-BDC4-FBDCB846C9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9496B255-EBB0-487F-8313-03FFA853D4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15CC10CF-7A66-429C-96BD-F8796D95F7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1D45BC13-78FA-442F-9AEE-5A3E7ECD47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BEFA1CD0-E938-42E0-A5BE-B42AF0D0B1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072AF32C-FA40-4482-8A40-2DE227FFDB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2C3BBC48-B968-4007-8C50-0375081F58C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9717E27C-336E-41D4-91B5-14B2366CE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76E07BB1-1548-4917-B565-1C25F11EBD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98029383-C49F-47E0-AAEE-92F2155C23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91AB04D3-CE50-4817-8B82-F5D21C776B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02F3E632-A3AA-4FF7-86B6-23CE3A362C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4CAF7252-49DA-4B70-A3D5-3C4F037CF2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74D0E4E9-6D7B-4911-8F8B-99258B0EBD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4A717097-BCAB-4B21-88E9-7E533C56E1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E92FD166-3547-42A1-8925-6CAEEF005A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D68E7BDB-36F2-438B-B7C5-67D4B3AD62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41340D33-F4F2-4449-B8E2-8D7325ADCF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2B8E6817-AA3C-4B6A-8089-B3FC1A66E3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FE23E66A-DA2D-4407-8FB3-F28730AC66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81BA196C-E430-4F8C-9FA5-64ED08FD5C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1624900D-CEB6-44FD-8C8C-5BFC44E5CC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B0000334-3DE3-4B87-AEF9-1E577AF86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1D8F2F70-4DB5-44A6-BDDE-455879F5D3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D460AEFB-5567-4D63-8D23-0DC613951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EAB5786F-A0C4-4474-A8D9-75A6E53669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00CF159E-8216-41D4-860B-BB06E437AA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6E1B7BCC-36BE-4E50-B957-72C5D0574A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D9B4EB12-5604-404C-B37B-403068DC5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F901D364-F620-4A30-8133-287B39F7D2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10B0D892-0C9E-4092-B8C6-AB94D9B940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DCF444C7-2C2C-4309-AD02-82697F3448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C914391C-FD7C-4B2A-A02D-6170D095A3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B177F2D2-7A5A-4AD9-81DB-FDDB79D436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94F5420D-E005-4F18-A2AD-41717627F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41AC68CE-0E62-4DDF-BF40-89EC487698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71F26964-CDE7-4482-8EC0-6A54730D36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27174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2Col_NoSu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2" cy="2808288"/>
          </a:xfrm>
        </p:spPr>
        <p:txBody>
          <a:bodyPr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6420658-ADF2-4E61-B24C-C894637918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BE0A01A-5380-4132-9C8D-8FE4696F50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AF3F83FB-056A-46AE-ADB8-5DDE76AEF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E5FB8B1C-B1D5-4AFC-90A9-E66C4D351E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B991AF3D-BECD-42FD-A4AB-DAE910013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94BC71D0-9B99-4896-AC06-FFEB5B842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DAE06C27-0EA9-42DE-9108-6522E9A558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013C331C-96D8-4689-9DCC-D044571BD8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56FE6F32-8592-46DA-8109-D2F4965679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0DEB9C23-EF39-4C99-B6E0-D281211F18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2F3648F2-9E77-4217-920E-BA3A0131B0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09751F2D-C115-444B-80F4-1428169C7C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952524D9-03CD-40ED-A935-4EE82A544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626F2AD2-501D-4B7A-BFB9-13887E3B3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00A83A2D-F1BE-40DC-9F82-58D5BF4D0D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D738EB0C-EE85-455E-92BA-88034D1C00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D040AFC8-586D-4D12-BED0-D7E019906E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69D11FF6-360D-4FD6-80AF-5F9E172C84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D9144B5F-9644-4A51-8F21-9F9EDD3A5D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DBA89738-8FB6-4031-AF04-EB821DC0E2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43C10A18-1203-487A-A5F7-1650AA334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D296C316-C587-4C38-89B1-8A45989BB5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6C8FCE64-3084-494F-87AB-F1CD73E63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D44B4A4E-6C73-4006-9ACF-65778F4FE2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EB6560B9-9E55-4CF3-931B-334D7290DA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F7B2E63F-5589-496B-953B-207FF54B5E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788732D6-3A93-4991-8AEB-3E9DA30E16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3765C6F2-5C2F-4364-B998-B0776BEF3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1B7ED79A-D742-49F6-B62B-3BCD6293CE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AEF294CB-2046-4717-A447-BA9F3635C8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F1CB4D86-FF0A-402C-B7F1-23786549B2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1B207B02-8B9A-444F-B3EF-A65C3C065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79FFFAFF-AEC1-4692-B83C-603F58622D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AC028A62-EBFE-4D94-8E0E-15D7A4020E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94E52D8A-9A25-4ECB-8E4D-A29CBEDF13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BCC02CE4-5FF8-4345-BACF-BAE79B17E1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4272A4D7-C3D7-455C-ABC0-647010EE96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59FD1CE2-9B52-42FB-A0A1-EB7225D280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51D3F250-FABB-4D1A-9070-F71CC8FC27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9E24A3F4-F617-478B-8200-9E620C3D09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DCED2C3E-4703-433E-8563-3C44C559BA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745AECA3-F58A-4298-920B-65ADB865A1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779D719D-1D41-4124-BB72-58AE2018A3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5F05BC4E-2A32-4A66-8E94-90BF1FF00F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FBE884BC-21ED-4950-8A66-35384B38A2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BF9F485C-2830-4BCC-A5C1-3EBF6A07FB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1E883370-5E31-4A54-9A5D-3F29C2D1B7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E165B76D-B39D-4616-B413-824711E83D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1EECB341-5926-4341-BD4E-1B206492ED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1E6D159B-9FFF-4777-9800-BFC0CD612C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71365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6" y="658801"/>
            <a:ext cx="10946875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6" y="1633439"/>
            <a:ext cx="10946875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994150"/>
            <a:ext cx="9446705" cy="2243138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C498788-53D6-4F21-93E3-0607CFF247A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D7D05C7-5BAA-4C4A-8F17-0439FD4EF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9DCEF79-6700-4939-BAC0-49229C263E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91FDCD57-7A74-4B3D-8B43-7845AF695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19C005DA-3881-4C21-96F1-1402262152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02F83CE0-BF02-402D-BAD1-9179E65D5B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899D65AA-4B6B-4E7D-B482-18523C121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003B6F46-ED94-4229-A5E8-12E890116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48D2DA7F-B422-4A16-B986-F2429454C3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9AA7AA87-B254-454F-86B2-1268C71E4C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5B1EBC75-02F1-4E8D-9109-25CAEEDC2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99B904A3-BECE-4CE0-86F2-05C4150A9C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E3D8287F-92CC-4D16-AF58-152BCFBCEB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7B54EF6A-A6FF-48E8-82CD-F0A1C9F1BB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39D0B281-912E-4651-9301-DB0296383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04467054-EAE5-4071-8BA5-1DEE3B2106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559BA419-70F7-47E7-B67A-BC49110D5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F6DABD66-67A6-4161-8DD8-2B2178E00B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78458295-1309-4E38-B8D9-8140DC2582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0C8429AC-88C5-47D5-9B2F-87AA334BE5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8111896B-A787-4EB1-B40C-4EFE264DFB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D44A4B42-689F-4160-9332-BB9E3BD140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">
              <a:extLst>
                <a:ext uri="{FF2B5EF4-FFF2-40B4-BE49-F238E27FC236}">
                  <a16:creationId xmlns:a16="http://schemas.microsoft.com/office/drawing/2014/main" id="{6067BACD-2CE9-43D4-8173-A26189FF4F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5318E9C0-DB55-4120-B90F-91418E1730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>
              <a:extLst>
                <a:ext uri="{FF2B5EF4-FFF2-40B4-BE49-F238E27FC236}">
                  <a16:creationId xmlns:a16="http://schemas.microsoft.com/office/drawing/2014/main" id="{92D84005-D53D-484F-81C7-9426069C2B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40166A99-1F21-435E-B6BF-40CEE3B4DB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85DFA70F-F381-4232-8FDC-82D9793032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CCAA1067-8C56-4502-ABC5-4BDCEA363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338CFC0B-2A84-4537-BE5F-2836EA3298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7F003F7D-52C5-4BA8-A688-50510C769D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CB84C983-20B8-4E82-9107-2EB9DD5C33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29B5361F-D26E-430A-B4C6-6F20B9723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B16F0936-E3E7-4D14-A649-51B67996BB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322EDC45-B306-487B-90BD-8BD3B43F12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6F33BA6B-6819-4AE8-8B98-13A1934519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E363FF43-3F0E-4231-8B55-6F7553BCAB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FBFE63B0-E890-4C32-9A94-6FFA322B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AD92D46D-6D1E-474B-9C41-6B32682885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2">
              <a:extLst>
                <a:ext uri="{FF2B5EF4-FFF2-40B4-BE49-F238E27FC236}">
                  <a16:creationId xmlns:a16="http://schemas.microsoft.com/office/drawing/2014/main" id="{4CA073C1-5A49-45F2-B859-3ED8633FA3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3">
              <a:extLst>
                <a:ext uri="{FF2B5EF4-FFF2-40B4-BE49-F238E27FC236}">
                  <a16:creationId xmlns:a16="http://schemas.microsoft.com/office/drawing/2014/main" id="{5B961A72-F469-4310-81AB-F0C43D6A7E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4">
              <a:extLst>
                <a:ext uri="{FF2B5EF4-FFF2-40B4-BE49-F238E27FC236}">
                  <a16:creationId xmlns:a16="http://schemas.microsoft.com/office/drawing/2014/main" id="{C5A3CCBF-50AA-41D2-9EDD-162563D902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5">
              <a:extLst>
                <a:ext uri="{FF2B5EF4-FFF2-40B4-BE49-F238E27FC236}">
                  <a16:creationId xmlns:a16="http://schemas.microsoft.com/office/drawing/2014/main" id="{2B119E8A-84F0-4267-A894-AA1FF964D4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46A5D8F8-14D6-42EA-B0E5-1F912BCEB4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A3E51E7A-48A9-4E80-B201-F302E1782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F688A0C7-0D60-4BAF-B56B-A2702044D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9">
              <a:extLst>
                <a:ext uri="{FF2B5EF4-FFF2-40B4-BE49-F238E27FC236}">
                  <a16:creationId xmlns:a16="http://schemas.microsoft.com/office/drawing/2014/main" id="{86D7C4A1-5439-433D-800E-DFB43B92F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0">
              <a:extLst>
                <a:ext uri="{FF2B5EF4-FFF2-40B4-BE49-F238E27FC236}">
                  <a16:creationId xmlns:a16="http://schemas.microsoft.com/office/drawing/2014/main" id="{FC550EB2-3C03-4FF9-BF31-967AA1A4F5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693B45FF-324D-4CB4-9686-055FD0F9E9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2">
              <a:extLst>
                <a:ext uri="{FF2B5EF4-FFF2-40B4-BE49-F238E27FC236}">
                  <a16:creationId xmlns:a16="http://schemas.microsoft.com/office/drawing/2014/main" id="{EE9DA151-2DF4-456A-BAD8-481A14CD25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3">
              <a:extLst>
                <a:ext uri="{FF2B5EF4-FFF2-40B4-BE49-F238E27FC236}">
                  <a16:creationId xmlns:a16="http://schemas.microsoft.com/office/drawing/2014/main" id="{BB360B22-CDCA-4088-B4FF-C0DBBA9299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54062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_No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9495473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2276475"/>
            <a:ext cx="9495473" cy="3960813"/>
          </a:xfrm>
        </p:spPr>
        <p:txBody>
          <a:bodyPr wrap="square" bIns="0"/>
          <a:lstStyle>
            <a:lvl1pPr>
              <a:buClr>
                <a:schemeClr val="tx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28F3BC6-7972-4BAC-96A0-2B73A31A242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51A6A5FF-653C-46DB-8F94-0A243D849B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4E87F3C9-2AE8-419C-A2D5-D3AF344633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F96D739-1857-4389-8DEC-D8619A7AE7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6D00334-4FAD-415B-8878-10AF90C4A9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F8E5137-A1A5-4048-9D94-6665C1BB4B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81FA2180-7131-4875-8123-B1865EC964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669A1C7F-E994-43ED-BF7E-8A09ABF8DF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BEEF163A-239B-4EB5-9DF8-023A666BAD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CCC1F7A7-B0FB-44A3-BD50-1447C19B97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A896CBC9-ABCA-4119-9B57-B8BF4B5543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4677AA08-05FD-49EB-ACD2-D667BA321B6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1D08156B-568E-4793-B7B8-AFF454FBCD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AA868916-32CD-4562-89B7-C3DDE4178A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9FD59890-A978-4A24-AFDC-4BE4623D30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95B098A9-5E16-42DD-89E4-C3D5EA2ED8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AACE7BEB-3A82-4D29-A531-AE81E4337F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34A2DAEA-8C58-4CE0-89AD-D16404C858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82247F93-97C3-46A6-9285-1BFAF9F291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13987450-EEB0-404D-9152-506178FA4F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21F11BDF-409E-4FB5-9195-4932BBBEA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28D81511-6C1E-480A-A1A4-28EEF4DE62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F15C4581-71F7-443E-985B-E99A41C9C4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33671415-7806-4F63-970F-B825E2A13C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45379B6B-0D57-49F7-8DFB-DD8C13191F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480A0775-9510-47A7-B7C8-4371467501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1CFEFAB2-3610-42D8-8987-D3EDF16BEB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6135FE14-5F3B-4489-B4D0-55991F05ED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F52A0A69-25EF-4F2E-AB6A-4907B30A3D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091E5BF5-CE0F-4722-8260-4487606D06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20521F9D-C9BB-4EDD-8503-9570055597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71075A5B-FB39-4ACA-ADB5-A8308DC3C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BB3F22DC-12EE-4F0D-A810-8C1E115DB4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D8DA50BD-C142-4B87-A27E-9527D23850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575954A4-F3EE-4CE3-B61E-EB7A53DFFB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2517B777-1AB9-46C2-BB77-6E0C1FA171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2B09ED84-664E-4A5F-A319-7EABBA39C1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EED6D8F8-3DF1-40DC-9C88-F56267FEA9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C52610F8-F0AE-439B-BC6C-028F68BC81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F77B9338-82E8-4C1F-9DDA-BC6C8FD24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044F7675-69F2-45DA-87CA-4ED4A4DBB5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2972E8AB-D2A5-4F7F-9358-04B2FDC668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67D0A64A-C917-46B5-B929-2DCB04C3C7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E202E4D2-100B-4285-97D4-DA313AD68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212F46AC-F6A6-4093-9829-C7F78D0136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C47C22E7-A674-45EC-B504-7F9AB47757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68FC1A71-AA5C-491D-A037-F65390485F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2AED598B-37DA-4A41-920C-D4F11E1110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B0DC14E8-50D7-44C0-B6F5-A634BF09A4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7E3FFCC7-F3CD-44A9-B013-6601BF4C99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0351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_2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6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40"/>
            <a:ext cx="10944226" cy="643036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1" cy="2808288"/>
          </a:xfrm>
        </p:spPr>
        <p:txBody>
          <a:bodyPr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3D88C4-906E-4B4F-A69E-2484CAB3B6B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5E8A4EEF-BB65-4DB3-AD10-4EC96E3065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A8531948-327F-4E41-BFDF-377539BEB6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E9C878FE-47F0-4EFC-966A-282860EA8A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5553502C-FE45-4AE6-AAE0-4A61BC9D53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8B409FC8-6F54-4D66-8CF4-6C7DA0521F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36F1C24E-DF52-4DCD-9E2D-37B1BD2B77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45233BC7-5FA6-4FB9-BCF6-F6EDA28540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4F542FB4-516E-4E2D-99C7-E270BBA4CE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59BB146B-25E8-4546-88FB-5D421AA84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E7CEFBE8-2731-461A-A3C6-8827B8CF3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7203B177-104B-402D-803A-CA2E595913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841C77B1-0106-4856-BB2F-4DD67AF4F0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71B913E9-567E-429A-8AD2-858A298691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64CE5009-652E-4D03-A462-63267B8A0D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C5C94B5E-AC50-4E95-A441-BEBE163A51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213F584B-93B5-4E71-91CC-7C0E7AC6A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47BF4A0F-59D0-4E73-A0A2-FCF0FC9BC7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EE0DBA3D-784A-46DC-B02B-4D0CC40EBE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A26DEFC4-1265-4A7A-AE48-F5580FFB77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AF73C6D2-3493-451E-80DF-AADFA260E1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69DE742A-FCC9-4FF4-AE47-341D4F9C6E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E8A57AF1-626B-4B47-9419-B913149662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5607C581-F561-4ABF-A7A9-898C295BF8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00656946-222A-4312-9B42-2B7E078C0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8886C059-5370-4FCB-965F-5605DCF11D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D5655C93-3ED3-4510-9B5F-1FD29B09B2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B73AB30E-0DD3-4C4C-961B-F8903B03F6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CDEEF09D-112F-4980-ABCC-7F7C1127FC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326184B2-ADE0-4A28-84B3-5AF37E4B1C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40132694-7B65-49EB-8A2A-639ED4AE5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2E656734-01F9-43EA-8D6A-698FCC4D2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3DA3B2B8-0550-4335-AF4C-DB28FBD01C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9A298463-38E2-48D4-BBF3-F8D14F56D3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CAF399CE-8313-43F3-A8FE-7AADAE8D64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2E0D08BE-8239-491C-965F-38514E035C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DA57631B-B770-4D1A-8205-FC76AC08BE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C8122214-4522-4615-9939-B126850426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882CD48D-5B07-4E88-886F-FDBAB92D96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CD9E3460-0EE5-4E87-886D-3B9AFC4B07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F7CC9AD2-A2F7-43E3-9951-C1082FDBDA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09152C7B-D37B-470F-B7F1-76A2DB7496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231C71C5-225A-4FEE-92CD-F46152AA1C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A918B800-8A88-4CFD-8DB1-8A0443EB8B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6B5DF315-DB6C-4DAB-A5C8-A49E98806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F5E77963-49C2-49D5-9EFC-EDD163C12D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7E7A8B93-58B1-457F-8A07-31AA21D8510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B41CA989-63FB-49B3-9F16-2FC88ADCFC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79F9A40A-ABFA-4AE8-99D6-CD9862FAB0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F2D243A2-4AB5-48D7-B625-7D7D5A50A7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349390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_2Col_No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4" name="Teksti kohatäide 3">
            <a:extLst>
              <a:ext uri="{FF2B5EF4-FFF2-40B4-BE49-F238E27FC236}">
                <a16:creationId xmlns:a16="http://schemas.microsoft.com/office/drawing/2014/main" id="{394016EB-E113-4661-883A-31E1AAE31B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2" cy="2808288"/>
          </a:xfrm>
        </p:spPr>
        <p:txBody>
          <a:bodyPr anchor="t" anchorCtr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F78BCD3-7F42-4476-BD55-804C1E9319B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77D03432-3F91-4368-A95D-9A9BB46001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85752AF-E02B-4BB2-9530-D77E7C99AF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08C7D098-8098-45BA-ABDA-EAA2942819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A9A34C16-322D-4751-A90B-1317869EA8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8F209985-DDA6-4A67-BE2C-6B83B4DDF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F4C4EE54-CC70-41A1-A728-2468908B9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7892DA39-8687-49A5-9F34-94580AC304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E34B1E3E-12F9-49B4-8E97-0FCDB6AE10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D8511149-7937-4434-9DBE-AFA69103E9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C15FDF54-F047-4F92-92C4-2EF52F13CC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29FA28C4-72C5-4FC7-A1FF-0DADB59CCB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61A4829B-C8A6-46FE-B74E-95E7C06887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8908B48A-99C1-4F78-A231-2E41A4B05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6E5B721F-CD17-4BB4-8EE6-B1316AACA3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407D27D1-E79B-477F-BD0A-7DCCAB9C3B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526A61FC-05E4-4EDC-B415-5A0558E2C9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90B00EDA-1E8A-4665-BD13-6FAF225428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08DFC0FB-098E-446D-974E-4506019460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324F2C3C-4040-4EE0-8B29-2ABA13DB99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65ACD397-CD89-4D03-B54D-3EA45A1F23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EB4EBF17-8664-4F65-BD38-D077E2BC6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A58E3C39-4D79-40BE-A4CD-15A0D8C4AE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5B14CF7E-8119-441B-83BE-3177A97826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B88473CC-4F14-4E0C-82D8-8DA9A6D4E3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1F754938-A3A5-46D3-8335-A3C374623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B1C06CDE-CC6D-49F7-AFFF-A8FFB4226B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480F2FAE-2B8D-455E-A794-08F785B39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77A8379C-E40F-4F71-941C-F99CB2E6A0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13F557D6-3B94-4AD0-9A01-2ECD9CBA9F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68ED9586-F777-4F54-87A1-F068BD2771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29CC3842-D3E4-4E67-BE05-BE421A01B1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64966A95-836B-4985-A888-0410CC4201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F1CD3EDE-4DBF-4793-9FFB-0643B57257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EE27373E-D29B-4D02-B8A8-B0E4CD81E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81226751-BD57-466E-A134-97F2BBAD47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12D9C499-0027-4286-B215-AA7869E0C5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2C6D3E5D-BB61-4449-9955-5978FDA6AA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AA57C470-F057-4C4A-B8DF-FB81E0EAA1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09ABB466-920D-4E0F-8622-616AE9E422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2ECF797B-704A-4697-9647-B4F7A29F1E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3CE1D6C6-6604-4CBA-8724-CE4907B65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6">
              <a:extLst>
                <a:ext uri="{FF2B5EF4-FFF2-40B4-BE49-F238E27FC236}">
                  <a16:creationId xmlns:a16="http://schemas.microsoft.com/office/drawing/2014/main" id="{1F2A3A5F-B3E2-429B-80E8-D28CF9D723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7">
              <a:extLst>
                <a:ext uri="{FF2B5EF4-FFF2-40B4-BE49-F238E27FC236}">
                  <a16:creationId xmlns:a16="http://schemas.microsoft.com/office/drawing/2014/main" id="{CC0672F2-C4AD-44A9-9D6A-ED5DDA631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8">
              <a:extLst>
                <a:ext uri="{FF2B5EF4-FFF2-40B4-BE49-F238E27FC236}">
                  <a16:creationId xmlns:a16="http://schemas.microsoft.com/office/drawing/2014/main" id="{1E65A862-9EEE-4714-B630-386C36F5A6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9">
              <a:extLst>
                <a:ext uri="{FF2B5EF4-FFF2-40B4-BE49-F238E27FC236}">
                  <a16:creationId xmlns:a16="http://schemas.microsoft.com/office/drawing/2014/main" id="{DD426156-A4DF-47EC-A533-C97F223EB7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0">
              <a:extLst>
                <a:ext uri="{FF2B5EF4-FFF2-40B4-BE49-F238E27FC236}">
                  <a16:creationId xmlns:a16="http://schemas.microsoft.com/office/drawing/2014/main" id="{A493CD49-F7E9-4A51-9E26-6492003174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1">
              <a:extLst>
                <a:ext uri="{FF2B5EF4-FFF2-40B4-BE49-F238E27FC236}">
                  <a16:creationId xmlns:a16="http://schemas.microsoft.com/office/drawing/2014/main" id="{2EA12585-B243-4296-9096-03342596F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2">
              <a:extLst>
                <a:ext uri="{FF2B5EF4-FFF2-40B4-BE49-F238E27FC236}">
                  <a16:creationId xmlns:a16="http://schemas.microsoft.com/office/drawing/2014/main" id="{F2EC081D-DECD-4D98-A96B-73B93716B5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3">
              <a:extLst>
                <a:ext uri="{FF2B5EF4-FFF2-40B4-BE49-F238E27FC236}">
                  <a16:creationId xmlns:a16="http://schemas.microsoft.com/office/drawing/2014/main" id="{AC6739E7-C0FE-4E7F-AD6A-9F0C307803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9403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Full_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6" y="658801"/>
            <a:ext cx="11007539" cy="974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6" y="1633439"/>
            <a:ext cx="11007539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994150"/>
            <a:ext cx="9446705" cy="2243138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D21069-81C2-4532-ABDF-0DBD9B72F6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D9DF617-637E-42C9-BCAC-E217E7E0DEE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6A1D72CB-BA6E-4DA1-A37B-4E4FD27DC8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9999E910-2716-44C2-ADCE-E2FDAAE6D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EB55F66E-5CAE-4F5E-A085-DB8EBBA3A5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67EF9F25-7CA9-4A08-9B24-FD877CF024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6C2B127D-2721-46D8-B5CF-3D6587950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F17BF410-4C59-4BEB-A4DB-70F794DA03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1ACDAB9F-807A-4EA3-8489-02487244A5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12">
              <a:extLst>
                <a:ext uri="{FF2B5EF4-FFF2-40B4-BE49-F238E27FC236}">
                  <a16:creationId xmlns:a16="http://schemas.microsoft.com/office/drawing/2014/main" id="{A4B70681-654E-49D2-A23C-E24391BFB9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2B22815B-A995-4ADB-A879-BDE78F80B5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28B56670-43AE-43EE-8E51-913FA2CDA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036EE2D6-E993-416D-A7DC-5F00830800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2FE3E6AA-B628-4BFB-A201-29F4C6FCC9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BB6815FE-7FB8-4333-8EE9-76927672C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B6701EAD-E532-482B-8E46-A4F004C68E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FC01C5A7-A090-41DE-8CC0-BF210EC7D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4702E324-93E8-41E6-85F2-241314673B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F4DB5CCD-1290-4991-A7E6-932DAF9617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284E0C00-DBBA-4B1E-BF9B-7B5CB6867F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3D572099-61EB-46D1-940E-5616362408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">
              <a:extLst>
                <a:ext uri="{FF2B5EF4-FFF2-40B4-BE49-F238E27FC236}">
                  <a16:creationId xmlns:a16="http://schemas.microsoft.com/office/drawing/2014/main" id="{95EA1220-23B4-49CF-A240-1654858E8E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EC97D947-F48E-4025-A985-73F0A27213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FA9A122F-D57D-4265-B9AF-93FDE2704E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79A89310-3A23-4D65-BB96-208A087F0E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8">
              <a:extLst>
                <a:ext uri="{FF2B5EF4-FFF2-40B4-BE49-F238E27FC236}">
                  <a16:creationId xmlns:a16="http://schemas.microsoft.com/office/drawing/2014/main" id="{557325FB-F317-4336-99F8-781CBFF432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>
              <a:extLst>
                <a:ext uri="{FF2B5EF4-FFF2-40B4-BE49-F238E27FC236}">
                  <a16:creationId xmlns:a16="http://schemas.microsoft.com/office/drawing/2014/main" id="{EAF83803-F1B3-4D5B-AE5B-11E019EBC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EBBFE745-D12F-4700-A30C-5926C85F66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616CD020-2193-423F-886F-13810BF411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6269F0D0-E606-4BF4-9B9D-D59DF22188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5982F316-6C3F-4A9D-BDA2-50E5BF9086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6B5AE4DA-6FF4-4853-88D2-AEFAA29B1E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A61223F6-9FC3-494C-B4E9-2892ED1F48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79D3A4D8-6DB7-42DA-BE13-5DECA66070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7">
              <a:extLst>
                <a:ext uri="{FF2B5EF4-FFF2-40B4-BE49-F238E27FC236}">
                  <a16:creationId xmlns:a16="http://schemas.microsoft.com/office/drawing/2014/main" id="{7CC9EF2B-66A8-4CFE-853A-95029654C2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98B6883-175E-4369-B112-E8C0C9257C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75D46792-8EB3-484F-AA11-BC60F39979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2963DFF0-0010-465E-94C1-EC1638FAD8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84F9CBD6-75ED-420A-B99E-6E03A2FC9D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3E0DB5DF-A9B7-48DF-8287-7C0E2B944C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4DF2938A-28C0-4BDA-8202-41CC4BD39E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D7922D85-35AD-4CE3-892E-ED276788EC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17061737-0424-4BD8-AB0F-A14CBEC63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CEAB2271-3EC1-45B3-A124-CA2A56E2A9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7199F992-F3B9-4884-8765-7A512E5B20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7476DB26-904B-44F5-9E53-6215E32F5E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A55D13FC-5DB6-4DA4-B091-A926C04846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C386F952-79F8-45BC-8679-73189ACD26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9E356820-4069-4477-8EB3-DC31502E07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DF772493-1E31-4BB3-807F-17DBF02652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3">
              <a:extLst>
                <a:ext uri="{FF2B5EF4-FFF2-40B4-BE49-F238E27FC236}">
                  <a16:creationId xmlns:a16="http://schemas.microsoft.com/office/drawing/2014/main" id="{700914CE-42FA-41A9-A5EF-97898B2CC6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56717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Full_Image_NoSu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A1F15EB4-2BA8-4FAB-9FDD-CE1746C1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9495473" cy="1617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2276475"/>
            <a:ext cx="9495473" cy="3960813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D96BED0-FA01-4014-A0BF-3582DED274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3B4F50E-F3C9-40B6-967F-22FC64B7396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2D17E818-628F-40E6-BA22-75D39FE8EB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0A63B148-1959-4F0D-B5D9-01FA27D2BB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E5131080-9003-4EC1-8F0E-CAC071AF18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7FB2F697-E04E-4CFD-B1BB-8826F652DB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CBA62D93-FBC9-49C2-8EB4-3B7A8E3333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CBBC87EB-784A-4C8F-9CA2-0611A72051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E12B79F3-2075-4436-9F79-9296098032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EE4DB8D0-0957-423C-B2F5-34DACF9522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6C048475-0036-4B72-9451-8670B00D17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45F538BC-87ED-46A0-98F9-224EEB04F3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4569D902-524C-4370-AB1A-4AC7437EC7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E1635365-FD8A-4054-8727-D0C30D9542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F350750-28AC-41C6-9466-E2DE4E555F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E1BA9E1D-BC99-4D2C-BF79-235D437A05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5949291-AC5F-429E-9DF6-998DAE98E9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17F4771C-5A4C-4520-980E-3A824D354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8ABC823D-3211-489A-AD27-6ACC09D208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C70DA4F5-C510-492B-94B7-1D5D38A7D5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1E0667E1-952D-4612-AC0F-073A3F170B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29B5F7B8-7A07-4BB5-AD6C-DF374A936B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3522255D-4C45-4F11-922A-6076DE893F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9746D98C-DB09-42C2-94D9-3853CF6475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FFF0D116-B19B-4697-88A6-E06822483A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BEE6A8FC-F78C-4759-B420-8EE6A5297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5F891553-ED89-4B9D-B217-B7F2600CC2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2CA66D52-D567-41BA-816D-D1303E802E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46554D17-EDF7-4296-A407-C1150964D2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56719BD5-5296-4BC6-8D55-8F28C77FB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3475B5A5-419B-43FB-8EF8-6A47537C99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F593BCED-1D35-451A-AD66-36B9D4BAAB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CC2FE54D-8F5C-4423-9977-9126C04DE3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235E4603-7BD2-4A6A-BCE0-5FE7A409B5F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6073281F-9577-4634-B9B6-456E1B3C00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1483E8BD-33A7-447A-A666-4144FFA41F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791A5254-A17C-4231-A6B4-3906857B30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A3FEDE17-79D8-47BC-8E02-D7F5AC1553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F8125072-8BF5-4CA8-833B-8C5C920C3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0B7844F9-BD89-4295-B165-F0426EC973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C0D62485-6DC8-4D5C-BB21-8B3EE81B99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007D0438-8429-418F-9A65-99590977EE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313E05E2-BACD-4376-BD58-9CA0A6FE92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8CD4AF67-68BA-4950-BFED-1BAFEC43A0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AE8F576D-4B26-4E8A-8579-4FABCC79D1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88C43512-FE16-42AD-8CDB-A9A775F38B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FA0779C7-C993-407B-B653-C58480828C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C644B235-88B7-402C-BB95-28074173A3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F3991C61-BFDD-4A5D-972B-0698FE26C9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16C2B0F9-6A68-48BF-9925-5FE9A26811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F8CE1EC7-84E1-4593-AFDF-66F1E39E81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7376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3E21A016-A1F5-4349-9146-0418D993E0E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08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Image_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658800"/>
            <a:ext cx="10944226" cy="5578487"/>
          </a:xfrm>
        </p:spPr>
        <p:txBody>
          <a:bodyPr anchor="ctr" anchorCtr="0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9A0C37FB-B62A-4F88-A61F-58EE1F3E197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630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Dark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Picture Placeholder 75">
            <a:extLst>
              <a:ext uri="{FF2B5EF4-FFF2-40B4-BE49-F238E27FC236}">
                <a16:creationId xmlns:a16="http://schemas.microsoft.com/office/drawing/2014/main" id="{00206620-3FC5-4B9C-8EF2-A071D624A3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48501" y="659501"/>
            <a:ext cx="3473101" cy="2505974"/>
          </a:xfrm>
          <a:custGeom>
            <a:avLst/>
            <a:gdLst>
              <a:gd name="connsiteX0" fmla="*/ 1348260 w 3473101"/>
              <a:gd name="connsiteY0" fmla="*/ 0 h 2505974"/>
              <a:gd name="connsiteX1" fmla="*/ 2124379 w 3473101"/>
              <a:gd name="connsiteY1" fmla="*/ 0 h 2505974"/>
              <a:gd name="connsiteX2" fmla="*/ 2576708 w 3473101"/>
              <a:gd name="connsiteY2" fmla="*/ 106790 h 2505974"/>
              <a:gd name="connsiteX3" fmla="*/ 2913856 w 3473101"/>
              <a:gd name="connsiteY3" fmla="*/ 275333 h 2505974"/>
              <a:gd name="connsiteX4" fmla="*/ 3421033 w 3473101"/>
              <a:gd name="connsiteY4" fmla="*/ 1499845 h 2505974"/>
              <a:gd name="connsiteX5" fmla="*/ 3319404 w 3473101"/>
              <a:gd name="connsiteY5" fmla="*/ 1814411 h 2505974"/>
              <a:gd name="connsiteX6" fmla="*/ 2520414 w 3473101"/>
              <a:gd name="connsiteY6" fmla="*/ 2493287 h 2505974"/>
              <a:gd name="connsiteX7" fmla="*/ 2360991 w 3473101"/>
              <a:gd name="connsiteY7" fmla="*/ 2505974 h 2505974"/>
              <a:gd name="connsiteX8" fmla="*/ 1009289 w 3473101"/>
              <a:gd name="connsiteY8" fmla="*/ 2505974 h 2505974"/>
              <a:gd name="connsiteX9" fmla="*/ 907697 w 3473101"/>
              <a:gd name="connsiteY9" fmla="*/ 2500844 h 2505974"/>
              <a:gd name="connsiteX10" fmla="*/ 4885 w 3473101"/>
              <a:gd name="connsiteY10" fmla="*/ 1598033 h 2505974"/>
              <a:gd name="connsiteX11" fmla="*/ 0 w 3473101"/>
              <a:gd name="connsiteY11" fmla="*/ 1501293 h 2505974"/>
              <a:gd name="connsiteX12" fmla="*/ 0 w 3473101"/>
              <a:gd name="connsiteY12" fmla="*/ 1345189 h 2505974"/>
              <a:gd name="connsiteX13" fmla="*/ 19273 w 3473101"/>
              <a:gd name="connsiteY13" fmla="*/ 1150325 h 2505974"/>
              <a:gd name="connsiteX14" fmla="*/ 295903 w 3473101"/>
              <a:gd name="connsiteY14" fmla="*/ 633389 h 2505974"/>
              <a:gd name="connsiteX15" fmla="*/ 633052 w 3473101"/>
              <a:gd name="connsiteY15" fmla="*/ 296240 h 2505974"/>
              <a:gd name="connsiteX16" fmla="*/ 1348260 w 3473101"/>
              <a:gd name="connsiteY16" fmla="*/ 0 h 250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73101" h="2505974">
                <a:moveTo>
                  <a:pt x="1348260" y="0"/>
                </a:moveTo>
                <a:lnTo>
                  <a:pt x="2124379" y="0"/>
                </a:lnTo>
                <a:cubicBezTo>
                  <a:pt x="2281372" y="0"/>
                  <a:pt x="2436235" y="36522"/>
                  <a:pt x="2576708" y="106790"/>
                </a:cubicBezTo>
                <a:lnTo>
                  <a:pt x="2913856" y="275333"/>
                </a:lnTo>
                <a:cubicBezTo>
                  <a:pt x="3364055" y="500465"/>
                  <a:pt x="3580219" y="1022352"/>
                  <a:pt x="3421033" y="1499845"/>
                </a:cubicBezTo>
                <a:lnTo>
                  <a:pt x="3319404" y="1814411"/>
                </a:lnTo>
                <a:cubicBezTo>
                  <a:pt x="3198916" y="2175814"/>
                  <a:pt x="2887934" y="2434310"/>
                  <a:pt x="2520414" y="2493287"/>
                </a:cubicBezTo>
                <a:lnTo>
                  <a:pt x="2360991" y="2505974"/>
                </a:lnTo>
                <a:lnTo>
                  <a:pt x="1009289" y="2505974"/>
                </a:lnTo>
                <a:lnTo>
                  <a:pt x="907697" y="2500844"/>
                </a:lnTo>
                <a:cubicBezTo>
                  <a:pt x="431673" y="2452501"/>
                  <a:pt x="53229" y="2074057"/>
                  <a:pt x="4885" y="1598033"/>
                </a:cubicBezTo>
                <a:lnTo>
                  <a:pt x="0" y="1501293"/>
                </a:lnTo>
                <a:lnTo>
                  <a:pt x="0" y="1345189"/>
                </a:lnTo>
                <a:lnTo>
                  <a:pt x="19273" y="1150325"/>
                </a:lnTo>
                <a:cubicBezTo>
                  <a:pt x="58128" y="955891"/>
                  <a:pt x="153623" y="775621"/>
                  <a:pt x="295903" y="633389"/>
                </a:cubicBezTo>
                <a:lnTo>
                  <a:pt x="633052" y="296240"/>
                </a:lnTo>
                <a:cubicBezTo>
                  <a:pt x="822759" y="106533"/>
                  <a:pt x="1080024" y="0"/>
                  <a:pt x="134826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76">
            <a:extLst>
              <a:ext uri="{FF2B5EF4-FFF2-40B4-BE49-F238E27FC236}">
                <a16:creationId xmlns:a16="http://schemas.microsoft.com/office/drawing/2014/main" id="{2BF2708C-642F-4768-BAD8-F6B3AA238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65008" y="3196422"/>
            <a:ext cx="4388823" cy="3038631"/>
          </a:xfrm>
          <a:custGeom>
            <a:avLst/>
            <a:gdLst>
              <a:gd name="connsiteX0" fmla="*/ 1519143 w 4388823"/>
              <a:gd name="connsiteY0" fmla="*/ 0 h 3038631"/>
              <a:gd name="connsiteX1" fmla="*/ 2869539 w 4388823"/>
              <a:gd name="connsiteY1" fmla="*/ 0 h 3038631"/>
              <a:gd name="connsiteX2" fmla="*/ 3585785 w 4388823"/>
              <a:gd name="connsiteY2" fmla="*/ 296696 h 3038631"/>
              <a:gd name="connsiteX3" fmla="*/ 4092192 w 4388823"/>
              <a:gd name="connsiteY3" fmla="*/ 803165 h 3038631"/>
              <a:gd name="connsiteX4" fmla="*/ 4388823 w 4388823"/>
              <a:gd name="connsiteY4" fmla="*/ 1519347 h 3038631"/>
              <a:gd name="connsiteX5" fmla="*/ 4388823 w 4388823"/>
              <a:gd name="connsiteY5" fmla="*/ 2025754 h 3038631"/>
              <a:gd name="connsiteX6" fmla="*/ 3375947 w 4388823"/>
              <a:gd name="connsiteY6" fmla="*/ 3038631 h 3038631"/>
              <a:gd name="connsiteX7" fmla="*/ 1519143 w 4388823"/>
              <a:gd name="connsiteY7" fmla="*/ 3038631 h 3038631"/>
              <a:gd name="connsiteX8" fmla="*/ 803087 w 4388823"/>
              <a:gd name="connsiteY8" fmla="*/ 2742063 h 3038631"/>
              <a:gd name="connsiteX9" fmla="*/ 296616 w 4388823"/>
              <a:gd name="connsiteY9" fmla="*/ 2235593 h 3038631"/>
              <a:gd name="connsiteX10" fmla="*/ 296616 w 4388823"/>
              <a:gd name="connsiteY10" fmla="*/ 803165 h 3038631"/>
              <a:gd name="connsiteX11" fmla="*/ 803087 w 4388823"/>
              <a:gd name="connsiteY11" fmla="*/ 296696 h 3038631"/>
              <a:gd name="connsiteX12" fmla="*/ 1519143 w 4388823"/>
              <a:gd name="connsiteY12" fmla="*/ 0 h 3038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88823" h="3038631">
                <a:moveTo>
                  <a:pt x="1519143" y="0"/>
                </a:moveTo>
                <a:lnTo>
                  <a:pt x="2869539" y="0"/>
                </a:lnTo>
                <a:cubicBezTo>
                  <a:pt x="3138171" y="0"/>
                  <a:pt x="3395755" y="106792"/>
                  <a:pt x="3585785" y="296696"/>
                </a:cubicBezTo>
                <a:lnTo>
                  <a:pt x="4092192" y="803165"/>
                </a:lnTo>
                <a:cubicBezTo>
                  <a:pt x="4282095" y="993132"/>
                  <a:pt x="4388823" y="1250778"/>
                  <a:pt x="4388823" y="1519347"/>
                </a:cubicBezTo>
                <a:lnTo>
                  <a:pt x="4388823" y="2025754"/>
                </a:lnTo>
                <a:cubicBezTo>
                  <a:pt x="4388823" y="2585176"/>
                  <a:pt x="3935304" y="3038631"/>
                  <a:pt x="3375947" y="3038631"/>
                </a:cubicBezTo>
                <a:lnTo>
                  <a:pt x="1519143" y="3038631"/>
                </a:lnTo>
                <a:cubicBezTo>
                  <a:pt x="1250574" y="3038631"/>
                  <a:pt x="992989" y="2931902"/>
                  <a:pt x="803087" y="2742063"/>
                </a:cubicBezTo>
                <a:lnTo>
                  <a:pt x="296616" y="2235593"/>
                </a:lnTo>
                <a:cubicBezTo>
                  <a:pt x="-98871" y="1840042"/>
                  <a:pt x="-98871" y="1198780"/>
                  <a:pt x="296616" y="803165"/>
                </a:cubicBezTo>
                <a:lnTo>
                  <a:pt x="803087" y="296696"/>
                </a:lnTo>
                <a:cubicBezTo>
                  <a:pt x="992926" y="106792"/>
                  <a:pt x="1250574" y="0"/>
                  <a:pt x="1519143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30DC191-03DE-411F-B902-344DA3B883FC}"/>
              </a:ext>
            </a:extLst>
          </p:cNvPr>
          <p:cNvSpPr/>
          <p:nvPr userDrawn="1"/>
        </p:nvSpPr>
        <p:spPr>
          <a:xfrm>
            <a:off x="5767003" y="5664563"/>
            <a:ext cx="570489" cy="57048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4796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EA496C87-2B6D-4DF5-B6D6-819737B4A51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00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Dark_Cen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658800"/>
            <a:ext cx="10944226" cy="5578487"/>
          </a:xfrm>
        </p:spPr>
        <p:txBody>
          <a:bodyPr anchor="ctr" anchorCtr="0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BB5125D1-5AC2-4242-95DC-840792CEEE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6704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Light">
    <p:bg>
      <p:bgPr>
        <a:solidFill>
          <a:srgbClr val="FCED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0C5D0892-6CFC-48B6-9B3B-FC86691AFEF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96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Light_Centre">
    <p:bg>
      <p:bgPr>
        <a:solidFill>
          <a:srgbClr val="FCED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658800"/>
            <a:ext cx="10944226" cy="5578487"/>
          </a:xfrm>
        </p:spPr>
        <p:txBody>
          <a:bodyPr anchor="ctr" anchorCtr="0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58F67430-98A8-4D79-A022-D36ACE67906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5230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0C5D0892-6CFC-48B6-9B3B-FC86691AFEF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054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Header_White_Cen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7" y="658800"/>
            <a:ext cx="10944226" cy="5578487"/>
          </a:xfrm>
        </p:spPr>
        <p:txBody>
          <a:bodyPr anchor="ctr" anchorCtr="0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</a:t>
            </a:r>
            <a:r>
              <a:rPr lang="et-EE" dirty="0"/>
              <a:t> </a:t>
            </a:r>
            <a:r>
              <a:rPr lang="et-EE" dirty="0" err="1"/>
              <a:t>edit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58F67430-98A8-4D79-A022-D36ACE67906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1886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6" cy="4789498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299"/>
            <a:ext cx="7559676" cy="788989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CC40FEF-BF9E-4C91-9ECC-6AFC884C02D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FCC29D9-2FF3-4C61-B7AC-35B0A05DB8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1E32A19A-FE4C-4AE2-9101-CBA8AB9C4F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7AFEB617-027C-4549-B552-4861A6FF5A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8A012BB2-3501-4574-B323-CB72432C3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2E2C675-3176-41B1-A67B-3B9FBC06C5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4EAB540D-D3A8-4180-8274-E28FF3D543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3A8533B5-AE28-4F32-AB9C-1FC028C167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EC6FE67E-9018-4E01-B95D-CD8EA636A2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B7683DE-4DB8-4B9C-8D3B-9F7675B2C5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DF254FCF-6929-40CD-B7D2-1D1803A129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88B754F5-8023-4CC9-B694-4EFCDFB0F2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D422AA89-0436-4CFD-9C67-FAA9F49DE3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5AD5CB1E-EEF3-4C97-A904-46AFA49FE9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C9654CCF-61AB-4201-8DC6-5E3F110D03A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924B7022-C24C-44D3-B97A-DE6E82D7C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620D8875-6F7D-4D7E-8F36-E2DEFB8312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6CDB771-A3AD-4EC0-909F-578369897C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FA48818F-D3E8-4DA4-89DE-8CF04828A0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380F214-C63C-4134-9D07-0C6CA10C98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4EB124D8-5ECF-4B8B-8508-1796E729CA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74E43B5A-B222-4AF8-846E-992EB777D6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0007D6AD-231D-438E-83C9-932DB6A61C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9AA3A80C-45F4-41EB-A306-7D21C8166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B99FA6A9-4DE5-4CCF-997D-25500F89E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55C44E96-FB58-4DCF-B7F3-0BFB83F8B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C02923DC-4B5F-475A-ABC3-A14213F705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0CFA112D-60A8-457D-9735-C7FA48C463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89CB629C-C7F6-465A-B1B0-117BEDB914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E4F91E76-FA28-4289-8138-416B0F007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CFA2A7E8-4C4D-4399-AC9D-50F8C7F7D5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12102115-E9EE-46B8-B205-88B38A86EF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631A1A5A-ACAB-4F3B-9B04-562F32B2AB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4978F41F-6CE6-43C0-ABFC-B4BA3981B7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FCD30762-A007-48BC-A43F-F25B486A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E17811B9-9A19-4A89-90BC-992D6983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EBAFC80F-C662-4D10-AD2A-62AC9F63D3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D1C9987B-794D-48CC-B292-0CD9DAA95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D438B986-0EF7-489A-B580-60492713E5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786DF01D-0855-4859-A751-8D4392FFD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6CADFB4-E1D4-4788-B18D-1C75D00F04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471FCECB-A1F8-4B72-AF9B-5D018C9297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955EDCA9-2EC8-4487-8DC5-70A38738F6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B4092896-C57B-405B-AF84-35A19D0E76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A027BE67-7EB4-45CF-9614-B0860F361C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53FBA402-9D6C-4DCB-8E10-34880F5E3F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F14D4FBE-12A1-4E7D-AEA8-0C1313C1E1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6BF72BB-A7EF-4E77-A845-2064C701B8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6F7BA23E-9100-422E-9923-C9262B4204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C5DE5CE8-C548-4F31-BDC6-9893FDE9FF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4143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ight">
    <p:bg>
      <p:bgPr>
        <a:solidFill>
          <a:srgbClr val="FCED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6" cy="4789498"/>
          </a:xfrm>
        </p:spPr>
        <p:txBody>
          <a:bodyPr/>
          <a:lstStyle>
            <a:lvl1pPr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299"/>
            <a:ext cx="7559676" cy="788989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47E52EB-5936-4826-8380-1619A20BA2A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EC71789E-2185-4AC3-8A85-52BBE10128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DBD22889-C715-487B-AE7E-3AFF8C6D8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1D89A0A9-08D0-42DD-A332-1EB1D908A2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49FD744-9E11-4E98-A1FB-7A536A787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9F513EFD-D94A-40D1-88CD-FDEFD83B4B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2C5B1A7-DDF5-43ED-BF8A-ADA2017AD3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BD62DEE6-0E46-4CA9-8552-CA690B19AD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9B567C92-E23B-427B-B932-076E3C36D3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2225C78F-9F32-47DB-A151-FCDBBCDFA9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08A5F9C4-59AA-4EF5-8DF8-49D2CBDCD1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3A14F443-D7B1-491B-8AD6-610396D6C9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6B71BC9E-36DD-4457-BD9B-171BFB1450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75177353-00B2-4746-AD1E-2FD3CB7053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FBBB1D97-7EA2-4A12-9F9E-CE1BE5F84C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5A43D13C-52BA-44B6-AEE1-3CA81C8CAF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6D6E59B2-7073-48C3-9DBF-B55D31AD81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DE0AE8CA-7FCF-4B75-B2BE-76A04EE169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6966030F-75F3-43A4-A4C2-D7B5245F6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D0131ADF-9171-4C8D-B43E-A0869D6A2E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8BD93828-AE18-4D68-9DDB-135182A955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72A63D67-C82E-4CBB-AB8A-D36C977336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F45F3F6C-EE86-4A60-87E0-FDC9532B3D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EE152569-52FF-4283-934A-BAD9888BB2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68341E5B-42EF-49C5-8175-9E3EBBFB9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E1E2E313-9112-4AD1-B04E-84F18BCA56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7BB1AC0F-DFF4-417A-B1EE-05F3F4677F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B3FC2293-4139-413A-AFD2-C72D8CD697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F3E96B89-A1C5-40BE-8452-D4CAD5B2F2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56635496-67A6-4442-AC86-BA2743781C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3271BEFF-B66E-498D-9E36-83E11F7861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D461DDF2-9042-4A60-ADB1-BEA6CF52D5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30F4EA0F-B2F2-4654-A36E-86E0AC138F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9590F643-7D80-43B3-8D07-638EA43528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A22C7768-FB22-4719-AB7A-F25E5BD01D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F9D3A007-4B1C-4C66-AA22-4D87D3917D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FBA44603-6FD2-46CF-9A6F-D701D8CE479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E0F2DB8C-055A-4373-B450-7CE0AA86A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CF256A1D-2B24-42C9-941B-C91ADF94C5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615989C5-5F46-4479-B193-0BB7D2C8F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3A3DA9C6-CD2E-455C-A397-BFEE46064E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E606E141-6CD3-4BCA-A85C-61EDE94990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6FBB0053-2684-4B3B-BAA0-8E1636BD921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AE1E62A9-6E7A-4416-BC70-6B1FABB3B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2702F10D-7C32-455E-ABAD-1DC888D3C6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C8F38CCF-328A-4FC0-8BC4-D061B102FA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C5004C74-5F44-41EE-9D0B-D848C2572B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3D814459-82CC-46C5-99D5-73261B39F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91039616-88E9-4AA8-9F24-6FFBFB8066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B6C626BA-7E91-4BC1-BDEF-F18763E6EB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86831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10944226" cy="4789498"/>
          </a:xfrm>
        </p:spPr>
        <p:txBody>
          <a:bodyPr/>
          <a:lstStyle>
            <a:lvl1pPr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5448299"/>
            <a:ext cx="7559676" cy="788989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A6B8206-8DC3-4D86-9ADA-870ADEB4B2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4A355E9-9DDB-430D-8A82-971E71FE57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D125E026-4BBD-40CF-95EB-FBB24257B4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66694C62-F30F-4B03-9435-193FA16570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135B904E-C8B5-4DC0-8E6B-BED541A189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AAAC2F21-A207-4CF4-9631-A4E84578D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332AB7A5-63D8-48FB-A34B-BD864CE5C7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EAEF2CE-F53D-472C-A46E-97BA770A27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0E20052C-2871-4A78-8C03-2E021D5AFA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8BF3E053-A040-4806-9E71-872288B3B1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50D82515-8DD8-4CFB-B01A-56AC79AC7F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916B143A-A758-4C71-9651-97BBE9F9B8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20F16574-71A5-4B4C-9930-4AFC413501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964244BE-35E6-4B66-B6DF-C220FB3FEC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C9E24697-3E85-454F-A39A-CEF1EABC3E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2976DDAE-3F1B-4ED5-A3F8-0C4DA7C94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8A0DA230-094A-4571-9C4B-8FC63CB431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D8F44AAA-C942-4A4A-8469-3D902D825E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66D7A014-DEE0-40B9-88F0-A7E4B014C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519A2AA7-953C-4DF5-826D-B0F557038D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3A8EC1E4-9DAD-4273-A14D-0C180C27BC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33EDA1C2-926A-4AFE-AAC3-0A8D23E30E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4A973C36-9E9D-4AFC-858A-CC5FA6FBA9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A09416C9-890E-4E6B-BD8A-1870FA86EE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E4C876F0-EDB9-4C6D-8A99-70F07FCD15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01250BFF-2106-41BC-A743-9153B1D4E4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33991414-18BE-4817-808B-C3BDAF4B48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869EAC2E-96F7-4EBC-91B9-3D47CDD83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1B3DC456-1950-4C84-8CB1-A99FF7CD4A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E52F5F80-5DF2-4D3E-8BEA-2E6CECC333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59B8BF4C-FAA7-42C6-8259-1181ADCDF8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02D010DE-4DE7-4CBE-A4B4-F61FCA35F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7DDC0F83-D3E8-4385-BAB7-BA66F14F83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179D3CA6-7075-4496-84A5-38650C3C9A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395B37C2-779C-46CC-8F1B-6F1090B043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215768AD-E51A-44C7-BA6F-3893ED1164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B9705879-402A-4DA7-9FBF-A3A4A3D719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108DD175-7002-44DD-8AAF-0D6762B546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5563710B-9A6E-4023-B86E-09BD86FAA0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7527AC93-7DCB-4CC0-87EA-246FA382E1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F7CCD314-0F6E-4A4A-BDE4-5491F256AF6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1EE0FB01-12D9-4C5D-871D-3B9756009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0504DDF6-7458-4568-9136-AD2D2A55E9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0A80EF61-AF26-400F-85D9-F3E9EA8832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CF759915-BADB-4858-A4F2-922687C5B6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39225E9E-E13A-4642-8324-F6E739127A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5CC9FC1A-E138-46BE-AE9E-3EFBE0A007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6E37E736-60C6-4CDF-BEFC-E2CE5980FD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8FF7F813-C75F-4D37-9FE5-DC2CC20C9C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1D42A1E9-087A-4190-AC70-A16D05CA26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121789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Half_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111750" cy="974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5111750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50"/>
            <a:ext cx="5111750" cy="2243138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27B4F34-EF64-4E30-AF79-32B1E356F7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90386AF5-C4E6-4063-8C41-65206C4F0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D153234F-05FE-4253-B8C1-4B81002ACC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89391D5F-01B7-45A8-8A14-8124DBB516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60F33550-C436-4442-8035-74A385918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3392AEEE-0229-460D-9A76-AA511C8A85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895A968B-83DF-4110-9024-3DCB8E6B8F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C87C6946-5B4A-4169-9D1C-8EE06D74A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12">
              <a:extLst>
                <a:ext uri="{FF2B5EF4-FFF2-40B4-BE49-F238E27FC236}">
                  <a16:creationId xmlns:a16="http://schemas.microsoft.com/office/drawing/2014/main" id="{654B023B-8CB6-499B-A91D-4068C80E37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94CFCFB1-7108-4F47-AC56-D0AE40CD55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7A71F197-7368-47A3-9323-097707B9E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5EE1F2F9-A6A9-4399-9540-FC0D19E0B8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30331F9C-BE1E-41D8-9633-3B595B9F4B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15149790-152A-4B8C-BCFD-A63E73DA32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18AC3071-647B-469A-B4DE-A00E3997D4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5A66BD5A-C519-4A82-8445-0AF50196E4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2D510DE7-E1D7-4C7F-B7E0-6C1B39E04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6664582F-9C21-41FC-B7A3-C989764F4C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3BFF093D-5DB0-4A73-9F45-1ECF75FE34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14D3E3F8-B4FF-430A-A9E4-68AE639105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">
              <a:extLst>
                <a:ext uri="{FF2B5EF4-FFF2-40B4-BE49-F238E27FC236}">
                  <a16:creationId xmlns:a16="http://schemas.microsoft.com/office/drawing/2014/main" id="{33B03642-8888-43DF-B254-1AE9CB7D5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9C9C9DFB-04C1-46D3-A05F-E2D084B65D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E159C915-E3FD-4A17-92A7-40258422E2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001F4316-9EB8-4F87-98D3-00104942C9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8">
              <a:extLst>
                <a:ext uri="{FF2B5EF4-FFF2-40B4-BE49-F238E27FC236}">
                  <a16:creationId xmlns:a16="http://schemas.microsoft.com/office/drawing/2014/main" id="{3AB781D2-F6B5-4AB9-86AA-01A7D6DA69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>
              <a:extLst>
                <a:ext uri="{FF2B5EF4-FFF2-40B4-BE49-F238E27FC236}">
                  <a16:creationId xmlns:a16="http://schemas.microsoft.com/office/drawing/2014/main" id="{84F5F55B-46A1-4DF0-BF6C-5105C92998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3C69F63A-B939-4F6C-8BF7-B8E6EF33F0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A86E8B26-DFAE-4D88-A338-23B2AEBDBD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74E77DB5-595B-4132-832C-F487283461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ABC5DDF1-82BD-4FC0-93A5-8A61561A36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096867D0-3BDA-460A-859B-E903E54171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59413DFA-7A29-4988-A8BF-AA54C3BD5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D129DCAC-FF39-4D1F-BD9F-FFC24D8EA0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7">
              <a:extLst>
                <a:ext uri="{FF2B5EF4-FFF2-40B4-BE49-F238E27FC236}">
                  <a16:creationId xmlns:a16="http://schemas.microsoft.com/office/drawing/2014/main" id="{1F1B8B6D-882B-4B9A-8245-9E4207D5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1128BD3A-AB48-440F-AF32-2984E752E0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4AE02B46-6B13-4A38-B27C-DE6CAB67F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3524C161-7E39-45DE-BA81-B635CD924D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575D769C-1CA7-4A8C-98F7-701FB211F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F79F58E-D13D-45FD-9665-3769823C4B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DE1512AC-9844-419F-AA88-07C77AC18E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36DADD86-70A5-432D-A4DF-BE4FE84B4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FACDA6F0-3395-4AF1-9210-2157D12C12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0004DACC-C0EA-48BF-BDC8-6982EDF991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610EC943-A812-41ED-825D-3A5889776A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36765DBD-4E40-441F-A894-F6B252F84E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0D6F9D0E-815D-45B6-91C7-CA105D4E4A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CE324ADB-5660-4C53-9FB2-66A9A8B232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B0C4DB54-31CF-4924-845E-BF347BC754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157B9D17-36DB-4811-83C5-FBC5B620E2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3">
              <a:extLst>
                <a:ext uri="{FF2B5EF4-FFF2-40B4-BE49-F238E27FC236}">
                  <a16:creationId xmlns:a16="http://schemas.microsoft.com/office/drawing/2014/main" id="{DF51A4F0-BEE9-4176-B5A0-A2745904AC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571549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Dark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icture Placeholder 74">
            <a:extLst>
              <a:ext uri="{FF2B5EF4-FFF2-40B4-BE49-F238E27FC236}">
                <a16:creationId xmlns:a16="http://schemas.microsoft.com/office/drawing/2014/main" id="{DC7BEA8D-7CE6-4EE6-AC4C-CF7E974937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62464" y="1628775"/>
            <a:ext cx="6774657" cy="4606277"/>
          </a:xfrm>
          <a:custGeom>
            <a:avLst/>
            <a:gdLst>
              <a:gd name="connsiteX0" fmla="*/ 3614631 w 8224014"/>
              <a:gd name="connsiteY0" fmla="*/ 0 h 5591735"/>
              <a:gd name="connsiteX1" fmla="*/ 5598498 w 8224014"/>
              <a:gd name="connsiteY1" fmla="*/ 0 h 5591735"/>
              <a:gd name="connsiteX2" fmla="*/ 5715308 w 8224014"/>
              <a:gd name="connsiteY2" fmla="*/ 3620 h 5591735"/>
              <a:gd name="connsiteX3" fmla="*/ 7234371 w 8224014"/>
              <a:gd name="connsiteY3" fmla="*/ 878448 h 5591735"/>
              <a:gd name="connsiteX4" fmla="*/ 7892519 w 8224014"/>
              <a:gd name="connsiteY4" fmla="*/ 1865547 h 5591735"/>
              <a:gd name="connsiteX5" fmla="*/ 8015651 w 8224014"/>
              <a:gd name="connsiteY5" fmla="*/ 3842845 h 5591735"/>
              <a:gd name="connsiteX6" fmla="*/ 7686700 w 8224014"/>
              <a:gd name="connsiteY6" fmla="*/ 4500829 h 5591735"/>
              <a:gd name="connsiteX7" fmla="*/ 5921501 w 8224014"/>
              <a:gd name="connsiteY7" fmla="*/ 5591735 h 5591735"/>
              <a:gd name="connsiteX8" fmla="*/ 2632066 w 8224014"/>
              <a:gd name="connsiteY8" fmla="*/ 5591735 h 5591735"/>
              <a:gd name="connsiteX9" fmla="*/ 989673 w 8224014"/>
              <a:gd name="connsiteY9" fmla="*/ 4713009 h 5591735"/>
              <a:gd name="connsiteX10" fmla="*/ 331770 w 8224014"/>
              <a:gd name="connsiteY10" fmla="*/ 3726317 h 5591735"/>
              <a:gd name="connsiteX11" fmla="*/ 141038 w 8224014"/>
              <a:gd name="connsiteY11" fmla="*/ 3363735 h 5591735"/>
              <a:gd name="connsiteX12" fmla="*/ 5609 w 8224014"/>
              <a:gd name="connsiteY12" fmla="*/ 2785901 h 5591735"/>
              <a:gd name="connsiteX13" fmla="*/ 0 w 8224014"/>
              <a:gd name="connsiteY13" fmla="*/ 2595225 h 5591735"/>
              <a:gd name="connsiteX14" fmla="*/ 0 w 8224014"/>
              <a:gd name="connsiteY14" fmla="*/ 2591929 h 5591735"/>
              <a:gd name="connsiteX15" fmla="*/ 13067 w 8224014"/>
              <a:gd name="connsiteY15" fmla="*/ 2401893 h 5591735"/>
              <a:gd name="connsiteX16" fmla="*/ 1240994 w 8224014"/>
              <a:gd name="connsiteY16" fmla="*/ 798860 h 5591735"/>
              <a:gd name="connsiteX17" fmla="*/ 2885752 w 8224014"/>
              <a:gd name="connsiteY17" fmla="*/ 141038 h 5591735"/>
              <a:gd name="connsiteX18" fmla="*/ 3431078 w 8224014"/>
              <a:gd name="connsiteY18" fmla="*/ 8759 h 559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224014" h="5591735">
                <a:moveTo>
                  <a:pt x="3614631" y="0"/>
                </a:moveTo>
                <a:lnTo>
                  <a:pt x="5598498" y="0"/>
                </a:lnTo>
                <a:lnTo>
                  <a:pt x="5715308" y="3620"/>
                </a:lnTo>
                <a:cubicBezTo>
                  <a:pt x="6328084" y="41760"/>
                  <a:pt x="6891179" y="363728"/>
                  <a:pt x="7234371" y="878448"/>
                </a:cubicBezTo>
                <a:lnTo>
                  <a:pt x="7892519" y="1865547"/>
                </a:lnTo>
                <a:cubicBezTo>
                  <a:pt x="8285402" y="2454800"/>
                  <a:pt x="8332393" y="3209402"/>
                  <a:pt x="8015651" y="3842845"/>
                </a:cubicBezTo>
                <a:lnTo>
                  <a:pt x="7686700" y="4500829"/>
                </a:lnTo>
                <a:cubicBezTo>
                  <a:pt x="7352413" y="5169447"/>
                  <a:pt x="6669028" y="5591784"/>
                  <a:pt x="5921501" y="5591735"/>
                </a:cubicBezTo>
                <a:lnTo>
                  <a:pt x="2632066" y="5591735"/>
                </a:lnTo>
                <a:cubicBezTo>
                  <a:pt x="1972108" y="5591887"/>
                  <a:pt x="1355759" y="5262123"/>
                  <a:pt x="989673" y="4713009"/>
                </a:cubicBezTo>
                <a:lnTo>
                  <a:pt x="331770" y="3726317"/>
                </a:lnTo>
                <a:cubicBezTo>
                  <a:pt x="255785" y="3612401"/>
                  <a:pt x="191863" y="3490885"/>
                  <a:pt x="141038" y="3363735"/>
                </a:cubicBezTo>
                <a:cubicBezTo>
                  <a:pt x="65190" y="3173982"/>
                  <a:pt x="20876" y="2979437"/>
                  <a:pt x="5609" y="2785901"/>
                </a:cubicBezTo>
                <a:lnTo>
                  <a:pt x="0" y="2595225"/>
                </a:lnTo>
                <a:lnTo>
                  <a:pt x="0" y="2591929"/>
                </a:lnTo>
                <a:lnTo>
                  <a:pt x="13067" y="2401893"/>
                </a:lnTo>
                <a:cubicBezTo>
                  <a:pt x="95041" y="1706649"/>
                  <a:pt x="545234" y="1076972"/>
                  <a:pt x="1240994" y="798860"/>
                </a:cubicBezTo>
                <a:lnTo>
                  <a:pt x="2885752" y="141038"/>
                </a:lnTo>
                <a:cubicBezTo>
                  <a:pt x="3060596" y="71075"/>
                  <a:pt x="3244249" y="26620"/>
                  <a:pt x="3431078" y="8759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5133325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ark_Half_Image_NoSu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A1F15EB4-2BA8-4FAB-9FDD-CE1746C1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0"/>
            <a:ext cx="5111750" cy="27701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276475"/>
            <a:ext cx="5111750" cy="3960813"/>
          </a:xfrm>
        </p:spPr>
        <p:txBody>
          <a:bodyPr wrap="square" b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46CE165-5786-4FD8-B859-19F1A06E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9FEC451-8138-4CC3-B204-29546A94B1A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BE1E83AD-42C2-44C6-B507-BA2AD790F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C2F036E1-1F95-459F-AF55-D2B19C3AB1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5264B4BB-EB66-42AC-8785-7C8B680AF6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006BBD97-7106-4C6D-8852-08931CCC37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EBE14CB4-F463-40B8-9E4F-3838DA6C9B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CA6D8C38-0332-42B8-A1FA-BFA848764A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6696641F-4786-4C81-9D16-DB78FBB49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8589DB1D-54CE-40C2-BD6D-1BAE474EA5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CBE53151-1CA3-4B54-BD93-24021578FB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1FF33BB1-F9D8-46C4-982F-FDBDED3995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9D3E828D-6096-46DF-84D1-79C645AD0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637019E5-EBCA-4857-84E2-514191A228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1B35954A-F9A5-4905-AD9D-AE0B8248A9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08A6F20B-2349-49A8-A93F-FF150FD006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473968F0-1BF0-4276-BA32-27C8FB41BE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5EBA072A-C867-4335-B468-7A8C907E4A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77C56B0F-C3FE-4A1A-9856-2A9E34D0AE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05738E08-3019-4C13-837B-CF916BCC6D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94C6AFF1-8FFC-4585-BD73-26328F4669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D6117100-67CA-4539-8DAA-BB8FD17BDD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9097CAAE-D1BB-4855-BA01-12B02A6D7E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5D20B3E1-A129-4AC8-9DD6-9B37DAD28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1FAB7834-B4E8-477A-B849-8C510A5983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B1AB88B9-607C-498C-A3AA-DA2CB0851A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54F71C9C-0ECE-4FD2-9AF3-4986955004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A22B5C97-403E-43F2-98D3-B4920BE1AE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5D503F32-FD1E-40FA-989C-84944D817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77C20FAF-871B-4AFF-B850-D0A60CFE02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778B50C4-8657-488F-AFCC-3D97F4EDFE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B9580D3D-6D71-405F-950D-F7D481C29F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1EF407D6-2A8F-487A-9A96-16C28D0D1E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3EEA5282-5D17-45B1-B32F-E14845F406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9CC0EBAA-4462-4BA4-BBB4-6E70013426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8ED7C7B8-1058-464F-839A-F29AA6A60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DFEC83F7-B8C7-4C92-B10E-2019866745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C3EC221D-5260-45D7-B6E8-7DB0B679F3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432F7083-247C-4CE8-87C5-1C6450AA92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7A79E9E5-509F-446A-B9C8-35DD33194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3820FDF0-F2AF-4F73-845B-31E72CF1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C09EB035-E4AB-473C-94A8-E26C680089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3B8A0157-275E-40F2-954B-67B3E82E6E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33E1AA8F-8CE9-4FF5-8092-B15B348F3A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E123D8AE-EFEE-466B-A7FD-87B937AF1D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E64432E5-352D-4161-923E-2D9B1EE6D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EFFAA58B-142C-4687-9EA9-D415C7AD0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51A632A4-7B03-4198-B7E1-8EED66CB61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9EABEF5A-0E88-4105-A1B4-D581754CB4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060576C3-4819-451F-86D6-2C98B4DCE8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4F9C60B8-8AF1-4D7D-9D81-3B6C6FCE74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6544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Half_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111750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5111750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50"/>
            <a:ext cx="5111750" cy="2243138"/>
          </a:xfrm>
        </p:spPr>
        <p:txBody>
          <a:bodyPr wrap="square" bIns="0"/>
          <a:lstStyle>
            <a:lvl1pPr>
              <a:buClr>
                <a:srgbClr val="0000F0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rgbClr val="0000F0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rgbClr val="0000F0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rgbClr val="0000F0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D991A1B-BB6F-4F6B-B081-275467788C5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CB267CDF-BC30-45EF-9659-07388AE651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7E5BBDE1-ED5C-42DB-90CA-12D58BA6DD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B3B27194-030B-417F-8BEB-BD7C87DF19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D1E084E4-3B9E-4C88-9D0A-22D7F5E0BE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7A14C07C-DB92-4CA5-A2FB-3A71E01F14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E17EA38F-A336-4C80-B20D-BD022E1103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679D7FEB-164D-4542-9D25-E0AA9E97AA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12">
              <a:extLst>
                <a:ext uri="{FF2B5EF4-FFF2-40B4-BE49-F238E27FC236}">
                  <a16:creationId xmlns:a16="http://schemas.microsoft.com/office/drawing/2014/main" id="{A04A0F73-50B4-48DC-85F9-944899B94C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7244312A-E2EC-422E-B274-349E9DB7CB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D623BDBF-6BD5-49CC-8DE7-D69D746301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ECF174C9-5165-42EA-9DB3-8D814190EE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7231B438-65ED-4B23-B2B7-DCBAF5CD2F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37F07FDD-930F-4B37-B3B0-AE1404B298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EA6B1B98-C2B3-44B0-ADA3-F6DB12CBB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EE1A1717-DE3D-47D2-A379-62090D1E9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AE7CCBAF-C437-4A5C-8C97-3AF4D3A477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A23CCF96-BC1A-4921-B986-12114A3A22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0E955EAF-6319-44B6-8056-1FEF174047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7A91CD62-3059-4181-B676-5239D47C88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">
              <a:extLst>
                <a:ext uri="{FF2B5EF4-FFF2-40B4-BE49-F238E27FC236}">
                  <a16:creationId xmlns:a16="http://schemas.microsoft.com/office/drawing/2014/main" id="{AC8CC0B4-F492-4CDE-A631-413076935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549FCA84-7EB4-4F51-B9F5-5B626D047A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12E29F89-9C2D-4DD3-87A7-2AC41B892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9134C4B6-FD9D-4EF6-B447-892297B2E1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8">
              <a:extLst>
                <a:ext uri="{FF2B5EF4-FFF2-40B4-BE49-F238E27FC236}">
                  <a16:creationId xmlns:a16="http://schemas.microsoft.com/office/drawing/2014/main" id="{3CC8C7C9-EF04-4439-AF0E-122313D778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>
              <a:extLst>
                <a:ext uri="{FF2B5EF4-FFF2-40B4-BE49-F238E27FC236}">
                  <a16:creationId xmlns:a16="http://schemas.microsoft.com/office/drawing/2014/main" id="{3DD1F285-E965-49B2-93DE-F3E88FE61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2F2E2886-9A1A-441C-B959-B6DAFBFFD0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2D982B97-81E4-4AB5-B689-8A247A73E1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BD9F35F1-385E-427E-8E4B-79AA809B5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D324DD3B-F1A9-40F0-97F8-FAFE1E47F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79983B22-8F11-4786-AE29-9CB82E880E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53469CA8-9BB1-4775-83F9-5EFBF6391D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2140D9ED-9499-401A-91E9-83C51321B3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7">
              <a:extLst>
                <a:ext uri="{FF2B5EF4-FFF2-40B4-BE49-F238E27FC236}">
                  <a16:creationId xmlns:a16="http://schemas.microsoft.com/office/drawing/2014/main" id="{61D4D38A-08EE-4AB7-81C3-42AF273645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C0998B87-742B-4A1A-9CEE-D99767195B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47751393-5ED0-42AD-B587-6310A054DB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69816820-678A-43BE-9BF7-B7928CE55A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5B8F9196-815E-419D-B5A3-356C8D2321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15ECA1FB-C5F7-49DA-855C-38FBFAAB6D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BC8A1D13-FCBC-4458-9996-B6498CB2B1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C5A7E74-DC69-4CB1-97EF-DA81CE2E43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EF1B994B-0AFF-43E3-A67F-A637B963CA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8FC62649-27BE-4515-93D3-9EDDE2515E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CD04A9B2-1ED4-4CFC-B765-DA11F4E0C8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F4A2AA62-CB40-40A3-933F-0E0422964F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C970D09B-374B-4523-A88E-B2E7CC4240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2049AE1D-2036-40EC-ACB1-48ED60E36A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08D33197-B586-4A97-AF1E-3FEF84E0B0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2E127F5F-19C6-45F4-A564-23BE6C826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3">
              <a:extLst>
                <a:ext uri="{FF2B5EF4-FFF2-40B4-BE49-F238E27FC236}">
                  <a16:creationId xmlns:a16="http://schemas.microsoft.com/office/drawing/2014/main" id="{A94932B6-34A5-4AD9-AD62-CFF23BAB33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994619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ght_Half_Image_NoSu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A1F15EB4-2BA8-4FAB-9FDD-CE1746C1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1"/>
            <a:ext cx="5111750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276475"/>
            <a:ext cx="5111750" cy="3960813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46CE165-5786-4FD8-B859-19F1A06E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36079E0-6A5D-4564-9DB1-B1BC81F17C8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37577E82-2542-4F45-BDF1-0EBD48A571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5FD37BE9-B9B2-4283-8510-9614BF8B8B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2828323A-1F51-4B7D-94F0-729E08BBB9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F78AEFA7-8669-4FC5-ACB2-28492C9BE3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F3E6199B-27A6-47E0-BEFB-18F8FC8755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5E633FAC-A1EB-4A82-A271-CA4C8C1478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8C81F1C2-0C70-496B-B1A8-B4E5A138FD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ED3DF9E1-5244-4F6D-8066-4E7E5B9838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5364AD0C-CA2C-481F-A4DB-A013364024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605ED017-F5D9-4694-919D-8A7ED43B25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926C7F15-2A54-4EF8-959D-AC8FE4BD1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414FF42F-E9B9-43A1-A450-020D1C2014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0AD14D10-D8FB-4B5E-A7FE-6F417A8899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43FAEA7A-B49B-4A2E-A228-759CA4FE4B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183EFBAF-CE80-41D5-B998-B1668F61A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77635B7B-CE9D-4BDD-AF64-3E468041C2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F1D435B2-FA22-4BF9-83E0-A679D1915B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46BFA746-0D48-41CC-981A-7A3675266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628DD696-91F5-4833-9318-7DDC325E63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883D868C-D8A1-44E1-BC8B-DCD21245C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21E88026-F02A-4935-8C37-4911B4E1E3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42DE1388-798E-4E66-BD7B-9DB47126B7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74387585-6910-4035-A12B-A8DEE05B02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D07622FF-A2B3-484A-B7BA-6EAA78CE7C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5635313A-B6C2-4F66-9E2E-35D15AB100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E5A18B46-0925-4664-9231-D1FEAFEC18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3BABF091-D638-43EC-B441-80306455B3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8A7869A3-965C-44B0-99C9-3FFFDDE19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4B117386-625B-48CC-AE89-02B003E70F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9C23DC1A-33D0-49C2-8E76-CED2767550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65CA4E14-4B0C-4698-8973-D79ED57923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85FA40E4-1D7C-4C67-9E7B-ABE4115558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4153E105-8F45-4634-A61E-8EE425CB37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EAB93F69-4CF9-43ED-9EA5-803448A895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E4ECE5C1-6699-4AB1-B18F-EF64961296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059B59E3-3C9F-4BCE-920B-4DF2638805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EB82AF71-B8D7-4817-A70C-7B8DFB4CD3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9996BDD7-2B7F-4D56-8EA9-1AD0EFA94F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F0AE8933-3DA1-4D50-96DE-AEA8DA813B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C488D0B9-9206-4A89-84B0-D809331214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BA718070-FC61-4218-B590-98746A646C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C56A4C87-84DA-4B82-9CDB-4F901F1D47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373BA652-8A45-40A0-9BD7-65B50B55D6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7E578D6A-ABDE-4255-ADB6-62F23C3E70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D73C5DE8-E3C8-4C0F-843D-9CA5541553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4EF193BC-DD00-4C1D-9803-14586FC42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7985D64F-A287-4869-BE64-D565A1E2CD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ACEB4EEB-9648-42E7-9DF4-109FAA090F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0F3BE249-08F2-4030-B414-3DA9543CE9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471269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_Half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D3B062EB-0F5C-4F9D-9569-2531A3D6376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111750" cy="9746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5111750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3994150"/>
            <a:ext cx="5111750" cy="2243138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22BE6A-BF46-417C-8758-C28B140D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AABBEF4-73B1-42D3-AD4E-8913DF4C678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84ABF216-0E3C-4FD6-80A5-BC7DF3B445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F76A112B-184A-43CE-B46C-01CED0F3C5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D2D0727A-C5D0-4277-8BDC-C9EA35AE8C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E144AFDB-FE35-4464-802C-F49A91FF29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F78D3879-088E-4CB7-8476-AB56940AF2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07262E54-5EB7-4C09-BD75-1E3FEB4194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443CA3A1-4CF9-453C-BFB4-6DA8BC5331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12">
              <a:extLst>
                <a:ext uri="{FF2B5EF4-FFF2-40B4-BE49-F238E27FC236}">
                  <a16:creationId xmlns:a16="http://schemas.microsoft.com/office/drawing/2014/main" id="{66904942-B0D3-45BF-8886-1A0D070B9B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58056629-027E-4643-B633-9C362D725F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9E5A24D2-C46A-40BB-B403-D13CBB9629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FD067547-C2DC-4FB6-983B-AF2C082F25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2791FA52-7A6A-4860-B32B-3BB3B92B3B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02125DAE-C783-4C8E-9E09-B68D2C95B7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7CAABC98-07C8-4FCA-851A-1D4B1D62A85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9D2304D7-9EDB-46CC-A9BC-AEDB33C60E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BD1312E0-563A-4FDF-B571-17BE2B3C36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E928D216-A413-43E9-A3A3-89C6AAD57E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79313155-5C9E-44A2-A8BC-C8EDD6C3BA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">
              <a:extLst>
                <a:ext uri="{FF2B5EF4-FFF2-40B4-BE49-F238E27FC236}">
                  <a16:creationId xmlns:a16="http://schemas.microsoft.com/office/drawing/2014/main" id="{912097FE-6C56-4EAC-BC44-5239D5900E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4">
              <a:extLst>
                <a:ext uri="{FF2B5EF4-FFF2-40B4-BE49-F238E27FC236}">
                  <a16:creationId xmlns:a16="http://schemas.microsoft.com/office/drawing/2014/main" id="{5EBAEF3C-6BBB-4484-8C62-82CD2A7AA4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">
              <a:extLst>
                <a:ext uri="{FF2B5EF4-FFF2-40B4-BE49-F238E27FC236}">
                  <a16:creationId xmlns:a16="http://schemas.microsoft.com/office/drawing/2014/main" id="{1745C2F6-59C4-4CC8-80FC-AB7251C47F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6">
              <a:extLst>
                <a:ext uri="{FF2B5EF4-FFF2-40B4-BE49-F238E27FC236}">
                  <a16:creationId xmlns:a16="http://schemas.microsoft.com/office/drawing/2014/main" id="{95A095C4-B809-42AA-9AE4-EFDBA9789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7">
              <a:extLst>
                <a:ext uri="{FF2B5EF4-FFF2-40B4-BE49-F238E27FC236}">
                  <a16:creationId xmlns:a16="http://schemas.microsoft.com/office/drawing/2014/main" id="{D5C732C6-146B-4185-897F-1FE97DE875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8">
              <a:extLst>
                <a:ext uri="{FF2B5EF4-FFF2-40B4-BE49-F238E27FC236}">
                  <a16:creationId xmlns:a16="http://schemas.microsoft.com/office/drawing/2014/main" id="{766C1F2E-31C7-4A54-A68C-52FCDF6E37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>
              <a:extLst>
                <a:ext uri="{FF2B5EF4-FFF2-40B4-BE49-F238E27FC236}">
                  <a16:creationId xmlns:a16="http://schemas.microsoft.com/office/drawing/2014/main" id="{CE2175A7-CD90-4168-B5AB-C8CF85C642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0">
              <a:extLst>
                <a:ext uri="{FF2B5EF4-FFF2-40B4-BE49-F238E27FC236}">
                  <a16:creationId xmlns:a16="http://schemas.microsoft.com/office/drawing/2014/main" id="{FEE92A99-676D-45CB-8453-B91A4688BD0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1">
              <a:extLst>
                <a:ext uri="{FF2B5EF4-FFF2-40B4-BE49-F238E27FC236}">
                  <a16:creationId xmlns:a16="http://schemas.microsoft.com/office/drawing/2014/main" id="{5837374E-E5F0-434A-BCD9-C6E9F57BBB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2">
              <a:extLst>
                <a:ext uri="{FF2B5EF4-FFF2-40B4-BE49-F238E27FC236}">
                  <a16:creationId xmlns:a16="http://schemas.microsoft.com/office/drawing/2014/main" id="{753BC82E-454F-4631-97C6-3FE9DE9DA4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5668CA59-C53D-41CB-B41C-FB09A35B7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6B6C5065-9E09-4F75-87F2-21841BEBBA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5">
              <a:extLst>
                <a:ext uri="{FF2B5EF4-FFF2-40B4-BE49-F238E27FC236}">
                  <a16:creationId xmlns:a16="http://schemas.microsoft.com/office/drawing/2014/main" id="{4766ACED-74D6-4441-A088-F0D218841D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015E9443-9ED8-434C-9262-E771546835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7">
              <a:extLst>
                <a:ext uri="{FF2B5EF4-FFF2-40B4-BE49-F238E27FC236}">
                  <a16:creationId xmlns:a16="http://schemas.microsoft.com/office/drawing/2014/main" id="{D278BD67-1780-4BF6-ACDC-B3BFE0D50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E1B9AB6B-6970-45E6-BCF2-1E5B651D1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F2AF816F-6B86-438A-8281-46DAA5F20E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E9AE98E5-D04D-46BA-A710-2A8888DBF3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180BD120-0BBB-4975-8243-4DE2EBE7B2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CBB71243-5DD6-4227-A18A-26AD45D978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7CDE6A95-766C-4398-BA95-D0A903F0F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4E9F948A-5A9A-4A98-A96D-A4D45140438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9E01BAE7-C664-4C9B-B6DF-D239B3EA15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568FB50D-81F1-4464-80BB-549DA27488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1FBF8510-634C-429D-AF53-581ADB3C5C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3678CB0F-5489-4591-8990-E804D8AF9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1B861307-51F9-43C3-8401-6285FB414F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E44D7D23-CB0D-4146-8203-CA6B1F78B5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F4B304E6-1FBA-4486-8861-DD5DD5C9FC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58F710F2-B7ED-4AFD-AF39-F49F5C0D7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3">
              <a:extLst>
                <a:ext uri="{FF2B5EF4-FFF2-40B4-BE49-F238E27FC236}">
                  <a16:creationId xmlns:a16="http://schemas.microsoft.com/office/drawing/2014/main" id="{4B57C9FC-9208-45F6-9A8B-61931158BE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81264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hite_Half_Image_NoSu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A1F15EB4-2BA8-4FAB-9FDD-CE1746C1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658800"/>
            <a:ext cx="5111750" cy="27701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276475"/>
            <a:ext cx="5111750" cy="3960813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46CE165-5786-4FD8-B859-19F1A06E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18F15D8-E57E-4F9C-B345-1EB158140DC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1E9B5A4E-D9AF-4587-9FDC-BEF5B9F47B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CF47C252-FB69-4A85-A551-635591B000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D1F7EAD7-5FD9-48B3-B17C-E8D9E3A921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33157228-9BBA-44E2-9E6D-6E29E8A3DA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A7D60368-F129-490E-8606-0559507C5A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8BFC14B5-3249-4F0C-84AF-FC3B9E7A77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7717EA33-583E-497A-A8D7-6D4609CBDE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35C71D9C-9A6A-4638-9900-3C2779B0D9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F4D119D6-BD02-409D-95BC-2AB1966DB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9712A23C-B8B6-4531-B046-3119D2A7FF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23A83DD5-8771-47B0-B871-EFF331B4B5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8E47272-1A97-4EEC-BE78-364A14973E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B23CD86B-0678-4426-BB1C-BD713BE3AC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ADD5AC41-ED1F-47F8-AA59-BB60D088BD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1AE3CE12-24F3-46D2-B19A-D9F6D6B920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EA87F514-B96B-4AB7-ADD7-5922CE5049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23B4C256-4EA5-4724-8131-AB50089058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2">
              <a:extLst>
                <a:ext uri="{FF2B5EF4-FFF2-40B4-BE49-F238E27FC236}">
                  <a16:creationId xmlns:a16="http://schemas.microsoft.com/office/drawing/2014/main" id="{D82F2143-819E-4DE8-899E-73785F2BB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">
              <a:extLst>
                <a:ext uri="{FF2B5EF4-FFF2-40B4-BE49-F238E27FC236}">
                  <a16:creationId xmlns:a16="http://schemas.microsoft.com/office/drawing/2014/main" id="{2083AF5B-9843-4C73-A1EB-380407BF95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4">
              <a:extLst>
                <a:ext uri="{FF2B5EF4-FFF2-40B4-BE49-F238E27FC236}">
                  <a16:creationId xmlns:a16="http://schemas.microsoft.com/office/drawing/2014/main" id="{250B745F-BC66-4C14-85A1-EA8FECAFE8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">
              <a:extLst>
                <a:ext uri="{FF2B5EF4-FFF2-40B4-BE49-F238E27FC236}">
                  <a16:creationId xmlns:a16="http://schemas.microsoft.com/office/drawing/2014/main" id="{5ABB3608-84E7-4C3B-900B-43EE670AD0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13DD7152-1E9F-4B97-9442-110FB49DB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7887AE6F-55A0-46E2-9361-A2A9D6A454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09876F2B-F201-4032-846B-904510BFF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700A7D4B-3A13-4795-9F56-2382EF0E5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0">
              <a:extLst>
                <a:ext uri="{FF2B5EF4-FFF2-40B4-BE49-F238E27FC236}">
                  <a16:creationId xmlns:a16="http://schemas.microsoft.com/office/drawing/2014/main" id="{34A6BC76-2513-4EA2-931A-6F6ABDC7DF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A7A46E78-19EC-43A0-9C2C-522F89728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2">
              <a:extLst>
                <a:ext uri="{FF2B5EF4-FFF2-40B4-BE49-F238E27FC236}">
                  <a16:creationId xmlns:a16="http://schemas.microsoft.com/office/drawing/2014/main" id="{60977DC9-89FE-4A7D-9791-DEB711030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A062139E-8626-421F-B859-404DABB0C3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8E653F08-7C9A-4A1F-807E-345528A9D2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1299070A-AB71-423A-88B7-49F6B2E6D7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D33DD0CD-5A43-4AE0-94AE-63A80CFAA2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6DA942FB-96CC-4196-8E44-56F75D6D36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2F5805DC-94DF-4E16-A436-80971992C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BE6B431A-A9A4-436A-ADD2-14E072ADC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CCAA985F-27CC-42F3-9959-55DF120AE9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468E471A-A9F0-41CC-B94E-DE4889451A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F77FDB84-A4B2-4F5B-8E17-A11D993FF9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DDA1E833-746D-4E5E-84EE-F470A0CC3B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FDF19870-25E4-4360-B3A1-11A8DFBEA9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B2F5822E-4E39-4D64-B22E-775DF081D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F73BFC1-C63E-4A46-9F5E-4F6CB9C5FC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2B661471-FABA-4ECA-B73E-F8ECF15A35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34FB3B98-7C97-4052-9762-E3E2402EA4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0CCD6502-CE0A-4EC7-8F4A-FFC8811DFA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0">
              <a:extLst>
                <a:ext uri="{FF2B5EF4-FFF2-40B4-BE49-F238E27FC236}">
                  <a16:creationId xmlns:a16="http://schemas.microsoft.com/office/drawing/2014/main" id="{260CF930-2A16-46B3-8A42-74F786D6A0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1">
              <a:extLst>
                <a:ext uri="{FF2B5EF4-FFF2-40B4-BE49-F238E27FC236}">
                  <a16:creationId xmlns:a16="http://schemas.microsoft.com/office/drawing/2014/main" id="{0E54DDB4-66ED-4D5C-BEB2-1927A0907C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2">
              <a:extLst>
                <a:ext uri="{FF2B5EF4-FFF2-40B4-BE49-F238E27FC236}">
                  <a16:creationId xmlns:a16="http://schemas.microsoft.com/office/drawing/2014/main" id="{E556308B-CC6D-4ECF-A1F9-ABBBE1425A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3">
              <a:extLst>
                <a:ext uri="{FF2B5EF4-FFF2-40B4-BE49-F238E27FC236}">
                  <a16:creationId xmlns:a16="http://schemas.microsoft.com/office/drawing/2014/main" id="{9BFC5ABB-757A-4AF5-BB07-36295C376F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830345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CEA5005A-A5DA-4E4A-896D-06D33D8BBA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C9A2608-4796-498A-B244-81217D405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28C55F6-5595-40C9-9FDD-13531F0D19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9C6AC54-5E70-401A-A414-771DDD8928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0664AFE6-0C6A-4B17-85E2-E5D3C0BD5A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98EFCB51-100D-4DD1-97D2-8BEB8A82D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EACB06A5-162B-4D31-A86A-440504DC7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679E674B-39CE-46D1-90A7-A4F16E5D4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12">
              <a:extLst>
                <a:ext uri="{FF2B5EF4-FFF2-40B4-BE49-F238E27FC236}">
                  <a16:creationId xmlns:a16="http://schemas.microsoft.com/office/drawing/2014/main" id="{05999639-0EE5-4E69-89E9-C9E755FF56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FD855272-960E-4E89-9B7C-32A2E7F2AA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897DE76-20B3-422F-9659-56DA4A1994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9718EC9E-3823-4F19-AB81-C924D3084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5EF955F5-26A4-4314-895A-974D4FBE92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30F941B4-076A-4331-99FA-AA4E77A8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0EAE2169-2CD9-4155-9C79-434FAC9813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5DEB46A9-9AFC-477F-9C09-13CE60CE27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9FC5F1EC-3B8D-4B05-8E6F-B109CF6ECB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7ACF6920-C95B-420E-B585-1EA22EEC06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CD8C12F9-601B-450D-9ABE-CFD939819A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E82D686E-C2CE-455E-9ACF-DE9BBC5CA4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535A58EF-C543-4047-B65B-A51D05BED3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EC8ECD73-40A4-457B-B969-5AFAFF6CFA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31798E3C-C619-45D5-AE80-D729B34BF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F0520F5-FA61-45B7-A675-3EBAE00474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12EC78C8-CAD4-41F8-972D-70481F605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3A78CC1-1BB3-4A3D-A951-FD781A662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9B901EB4-A363-4D09-8095-9F55F1859A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CD25C97-7BAE-4302-A071-35533376A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9F6EDD0F-4F77-4B7F-AFF0-6217F2406E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8A946A7E-5F1B-45B0-9DB1-45742648D5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4E8AEFE8-3B5D-4C7B-A2A9-5010339942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83C581AC-7266-4DDC-ACC5-3A9EB2FE4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0B81C84E-3AFE-4527-9FF7-BF8C3AA014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C6EDA3EE-AF1B-4F82-B49C-B0238D2128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C4F84A5C-5FB7-4FCA-9E32-14B008A15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D9E8DF01-AEEB-422F-88BD-3312B8A1E3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48FCA4FA-F596-4F1E-84CD-5E01C9C2BF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4498506D-F89F-466E-8FE5-D47D4875EB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68F1B709-1BE5-47EB-BB29-16A31448F8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B39F0552-993E-49BB-85F9-A5BE192B3E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4">
              <a:extLst>
                <a:ext uri="{FF2B5EF4-FFF2-40B4-BE49-F238E27FC236}">
                  <a16:creationId xmlns:a16="http://schemas.microsoft.com/office/drawing/2014/main" id="{AA167CDC-EDC6-4DB0-9A03-4B79B2B2E4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29C3D396-C3C0-40C2-91A7-527848150D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CACFCF67-8CE8-4976-AA68-D2BD0E06A3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B57F5E9-C960-4784-A73D-C08C8EC67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826405BF-B330-43D8-903D-3C6FC60105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3E711CB4-C989-4568-99BA-110063583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D64598C9-92F7-45F8-9663-BFEDACD2BD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3634575-7C30-4715-8322-8616F15746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CB411B02-06B5-43D9-AB64-65E7EF28BE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276707F6-7B3D-4C2E-A292-F7CCF1B14F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04087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CEA5005A-A5DA-4E4A-896D-06D33D8BBA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CC9A2608-4796-498A-B244-81217D405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28C55F6-5595-40C9-9FDD-13531F0D19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9C6AC54-5E70-401A-A414-771DDD8928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0664AFE6-0C6A-4B17-85E2-E5D3C0BD5A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98EFCB51-100D-4DD1-97D2-8BEB8A82D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EACB06A5-162B-4D31-A86A-440504DC75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679E674B-39CE-46D1-90A7-A4F16E5D4A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12">
              <a:extLst>
                <a:ext uri="{FF2B5EF4-FFF2-40B4-BE49-F238E27FC236}">
                  <a16:creationId xmlns:a16="http://schemas.microsoft.com/office/drawing/2014/main" id="{05999639-0EE5-4E69-89E9-C9E755FF56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FD855272-960E-4E89-9B7C-32A2E7F2AA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897DE76-20B3-422F-9659-56DA4A1994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9718EC9E-3823-4F19-AB81-C924D3084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5EF955F5-26A4-4314-895A-974D4FBE92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30F941B4-076A-4331-99FA-AA4E77A8A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0EAE2169-2CD9-4155-9C79-434FAC9813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5DEB46A9-9AFC-477F-9C09-13CE60CE27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9FC5F1EC-3B8D-4B05-8E6F-B109CF6ECB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7ACF6920-C95B-420E-B585-1EA22EEC06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CD8C12F9-601B-450D-9ABE-CFD939819A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E82D686E-C2CE-455E-9ACF-DE9BBC5CA4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535A58EF-C543-4047-B65B-A51D05BED3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EC8ECD73-40A4-457B-B969-5AFAFF6CFA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31798E3C-C619-45D5-AE80-D729B34BF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F0520F5-FA61-45B7-A675-3EBAE00474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12EC78C8-CAD4-41F8-972D-70481F6057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3A78CC1-1BB3-4A3D-A951-FD781A6627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9B901EB4-A363-4D09-8095-9F55F1859A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BCD25C97-7BAE-4302-A071-35533376AC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9F6EDD0F-4F77-4B7F-AFF0-6217F2406E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8A946A7E-5F1B-45B0-9DB1-45742648D5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4E8AEFE8-3B5D-4C7B-A2A9-5010339942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83C581AC-7266-4DDC-ACC5-3A9EB2FE4A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0B81C84E-3AFE-4527-9FF7-BF8C3AA014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C6EDA3EE-AF1B-4F82-B49C-B0238D2128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C4F84A5C-5FB7-4FCA-9E32-14B008A15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D9E8DF01-AEEB-422F-88BD-3312B8A1E3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48FCA4FA-F596-4F1E-84CD-5E01C9C2BF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4498506D-F89F-466E-8FE5-D47D4875EB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68F1B709-1BE5-47EB-BB29-16A31448F8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B39F0552-993E-49BB-85F9-A5BE192B3E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4">
              <a:extLst>
                <a:ext uri="{FF2B5EF4-FFF2-40B4-BE49-F238E27FC236}">
                  <a16:creationId xmlns:a16="http://schemas.microsoft.com/office/drawing/2014/main" id="{AA167CDC-EDC6-4DB0-9A03-4B79B2B2E4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29C3D396-C3C0-40C2-91A7-527848150D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CACFCF67-8CE8-4976-AA68-D2BD0E06A3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7B57F5E9-C960-4784-A73D-C08C8EC673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826405BF-B330-43D8-903D-3C6FC60105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3E711CB4-C989-4568-99BA-1100635831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D64598C9-92F7-45F8-9663-BFEDACD2BD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E3634575-7C30-4715-8322-8616F15746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CB411B02-06B5-43D9-AB64-65E7EF28BE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276707F6-7B3D-4C2E-A292-F7CCF1B14F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479685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1A36BA34-906F-4880-B086-9766206C34C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06E6E0E-BC5A-45C8-BE30-C51613F207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64BE971-C5DA-4D64-8A7D-8DAB03B3DF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2C77B057-EA5E-438D-8C0D-453843D149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A346AC82-B93D-4A75-ABD2-142A9BFAC5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E48BCDD2-4E65-4995-B35A-BDFD15991E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45532781-DA34-4EBB-A951-0DAE253CF0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EDBFD26-2D00-4E0F-9E2A-944645E8A6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12">
              <a:extLst>
                <a:ext uri="{FF2B5EF4-FFF2-40B4-BE49-F238E27FC236}">
                  <a16:creationId xmlns:a16="http://schemas.microsoft.com/office/drawing/2014/main" id="{3BD71F8D-3B87-4C72-9915-9C0AF004FD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45DAF3F5-CE41-498B-9748-BC8357697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722FE811-CB7D-43C1-9D85-2FF5B940F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7D6B2784-5A45-420C-8159-049B184595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7C6E1E14-190F-42AA-A85A-4C0FE6CB7F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B5ECE9A3-3345-4F99-8942-7935315B43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50C00B7A-0173-4906-B050-66F50C0426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59CCEA44-054C-4767-91F6-B31F71702E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9F3468A8-A470-4728-95ED-01F29834F5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401E86CA-B937-41A5-9523-652E81FAF1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1E4C64EA-10C6-4B76-B08B-F663402F6A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EE4BC88B-1C3E-4D72-B924-2400A8EB2D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2CDB932C-7178-4BF3-B071-2675DB247F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169C8D8F-43AC-4380-AEF5-C4F6115234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6336C8AD-1A2C-402D-B986-A80C1E4FDD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F901984D-49C1-47D0-82AB-F7D6C3D8FF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82814621-8FBD-4DEC-BDC8-017315CF19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D9E5309A-0788-40CA-AE14-0BD5CF0BF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70CC21F4-F603-4C9E-9C9A-46DF98746E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7AAC01FC-FC91-400D-9753-99AD03BBD7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030F98AD-A0C4-4DE2-B546-646C8D3BC1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B836E650-EEBA-4DAC-A84F-80631E6146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6F29E984-545C-468C-A93E-C0276F26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1642D669-34F2-4DCC-A937-3009BCBDF8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0F3809D6-D3EE-4B3C-94CC-BDD5D38839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161CF94E-C5F6-44CF-BD69-0F3AA456F3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754C8C8D-1B19-4617-8300-86905B9C8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694180BC-B4F4-4DF8-993D-B956102515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723F06F1-0ADB-42C9-8439-468786AACF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01DAD771-5A81-45EF-90A6-2C7CC7706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DAF0E13C-109C-44C0-A2BD-EF430FA61F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EBE70F03-65AC-40B5-944B-CB2DD0D720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4">
              <a:extLst>
                <a:ext uri="{FF2B5EF4-FFF2-40B4-BE49-F238E27FC236}">
                  <a16:creationId xmlns:a16="http://schemas.microsoft.com/office/drawing/2014/main" id="{14E0AD65-1490-4112-A3DA-D27552FF86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8DDEF534-AD9E-4CE4-9136-58AB936D67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72328BDC-457E-4D16-8F49-5E89B516BB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99854834-30C7-4E05-95B0-755D07A937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0F79E68D-C170-4CAE-9922-8D8A69B1D7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5674E8DD-87D5-41B8-9CAE-0FB0C7EF5F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42741F2C-1F92-4F0B-95B9-9B7FF9832E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11A3D24A-1E25-4FDC-8DE8-B5E6669B58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75FB2B7A-8B0D-49B8-B5E3-2C2AB8D924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3">
              <a:extLst>
                <a:ext uri="{FF2B5EF4-FFF2-40B4-BE49-F238E27FC236}">
                  <a16:creationId xmlns:a16="http://schemas.microsoft.com/office/drawing/2014/main" id="{50B5A916-A944-49E5-A0B5-B23785AD21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03770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Dark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27701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5437188"/>
            <a:ext cx="5472112" cy="800100"/>
          </a:xfrm>
        </p:spPr>
        <p:txBody>
          <a:bodyPr wrap="square" bIns="0" anchor="b" anchorCtr="0"/>
          <a:lstStyle>
            <a:lvl1pPr marL="0" indent="0" algn="l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7B6DE78-57E3-46AA-B56F-5BD359B1CF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73C5D78-1411-4E41-A7E6-316F0B5D5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BA1FADC-BD57-44AC-B2E7-AFB7A6D557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20BC26F8-E4B0-438F-8089-6B5AB329B3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FE71624-C7EF-4ACF-9EBC-CD0BE9AE7C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2F48897-343A-40D6-8CC5-B7DF9D4A1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DA93FE41-CCE7-45FF-B2F3-04734D6E16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4884AA8-205A-4D1A-B6FF-9D5E52F30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7761BD87-CB47-4029-9706-3537E58ADB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1BFB55FB-5506-4239-9F51-EBCF498676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49DDE25-93D0-465E-8E41-57A3345CE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5A893B78-16A7-4A11-B8BF-609CF757F9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3BD7F88D-1612-4963-B9A3-A2B88B23BE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1B34450B-F519-461B-9C56-5104745160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26694041-4614-4C68-8877-5978B949FD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F37E7582-EF8F-49BB-B440-E6A692343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016791-1DAB-4700-83F1-2F1ABBAA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A1B23E2-10CD-4E6D-B4FE-DF1020F2A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72F34872-0207-4BD0-949A-F3619C7A4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F5B7E6D-C9C2-48DE-9624-6433D9567C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FDA8C6BD-830E-43DA-82BD-8AEEEC09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CE51BB6E-25CD-4492-9916-AB376A053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9C8496CF-152B-4227-BB34-23060D13B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46E86BA1-DBFA-46C3-AFFF-AC875537BE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E513AB6C-769C-4916-A20E-5061A37D8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7E177FFC-88BD-4460-92B2-407E31262E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87EEAB0A-6152-49A9-97CF-3581B9438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5DCF8361-548F-4DEE-B669-472F4479C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7724F6DC-3084-4DB1-8E76-3E104248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158656D4-8511-4626-8A7B-AA90E91226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4E511542-D895-49FF-947B-A02E9084E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C083ADB5-DE65-4941-9633-F7275B2C2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18351E18-7F70-4E09-BBE1-E44B45F762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D50C385F-C635-4F81-8254-001A9A2E2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49686BEA-B8F2-4B66-AC96-62CE42340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31928231-372D-46D6-8174-3E5070E40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42D4DAC9-1F64-494D-BE7B-D03E2E9241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51171000-CAD5-4B32-9719-82FD21CF6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5E107D68-8E10-4526-BE6A-7319E30511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68ECDDB5-F30D-468B-9BFF-D616C7F43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12C0FFF-09FC-4E07-811B-1F3F18C16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59C7F935-134B-4A8C-BD69-78A07B527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D0E404A6-6B13-4186-947E-EC02CCA3A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4898EECF-F2F3-468D-B380-673B07C38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BFDD9270-6EEC-46D4-B2EA-B950C0B250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D2728335-C9E4-41F2-898D-A71B98408D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B7DB4142-13A8-4841-BE5C-9FE0B82952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9F6BD9D-EB66-4554-92FC-3C3FDC4885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7D80413E-05F0-4D2B-B11E-772F8D9C9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191B2745-8AF2-4652-AA63-65AD87122B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243018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Light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27701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5437188"/>
            <a:ext cx="5472112" cy="800100"/>
          </a:xfrm>
        </p:spPr>
        <p:txBody>
          <a:bodyPr wrap="square" bIns="0" anchor="b" anchorCtr="0"/>
          <a:lstStyle>
            <a:lvl1pPr marL="0" indent="0" algn="l">
              <a:buClr>
                <a:schemeClr val="bg1"/>
              </a:buClr>
              <a:buNone/>
              <a:defRPr sz="1200">
                <a:solidFill>
                  <a:schemeClr val="accent1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401E65-8FDD-4960-8AF1-DE676A90F8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19AB860E-4599-4468-949C-1F0C898590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0A492A63-E7EB-46DF-A3B9-3F24E1E9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EB5D3BAB-A3F2-4072-91E3-250D7D9A25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4DB2F578-4D11-4712-A58F-DB0592F6BA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5C79BF8E-27DB-492C-AB8E-6A238A690C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156969FD-323F-4816-9906-D447940917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5F1415F0-D10E-4693-BA11-0FEDA19BEC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1D4A69FC-5F86-4687-AB17-56EC90FABC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B3A382C6-B3E6-4180-9E33-9299094A46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7391B250-3ADA-4315-AD14-C113A97E01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8DEBE657-9959-45AD-B1F6-4CBA0BD2DC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280F3580-536F-470E-9107-22F20BF37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B5CEFA02-3855-4ACE-AEE5-4021AB2B1D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7FAAC2B9-A62F-454F-B814-9DECCCE804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D1581F55-E94B-4458-A619-88C2E807F2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E518C7C2-FBC2-4E4F-BB83-BC559874A6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21A8B4AA-B8DF-4FF7-8512-CB8D6C5EA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C2477EDF-44CF-4AE9-BDF2-848627D78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82301320-0306-4CCB-82E5-6DF21E729B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9FEE7141-AF07-4731-A8B4-47FE1C0EAE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2A2A19CA-6C34-4A73-8A6D-D37FF3F7E0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024259CA-1FBD-4EE3-9DF3-D72B500BA1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43455A1D-550A-435E-8E76-DF9078EF34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AD8343CA-E601-46F7-84C7-B62B5147B7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BE59341F-6502-4691-9F54-3686778524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560B83CB-6976-4B42-A22B-FBCCB697AB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12865244-B1A5-4FA1-AEB9-7A5E0A7B17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A2EA8963-DBF3-49C5-B12F-41B1A28F4A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FDB0573C-2991-4B4B-8758-80632E3E6B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2F433224-2881-42D0-BEBD-246DB92C62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DA48CF0C-E011-4C6C-887F-12F64AD6C2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96BD924A-7A72-42F3-A4E7-E8EE7D2852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587BB855-F5AF-41C7-8B51-629387A5E2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D6581E37-20B9-400F-8A72-98C1BE1313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9E8F504F-5DCD-4156-BE02-C368E681D1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22E66293-35C1-4620-9DFA-5D85A0F1C4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607F3B41-4F60-4D00-B65A-F0E0FF701D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DC174AEE-0EDF-45FF-AD6B-C250ED5EA3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55BEEF1C-FEDE-4370-A45C-A84E6806AF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13E1C18B-1723-44D6-969A-8CA3AAB8F1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633E2BE1-EF34-41D6-A0A7-F033EE351C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03F418C4-D3E1-4407-960B-0002209316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870E0954-3890-43B2-8F47-C0B67A77DF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6FB0807F-D025-4E69-AEB9-C7FB00F49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B606BD1D-3804-4D0D-A3C8-538228190D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2BD88372-5799-476F-86A4-5E975EB4D3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BF4F4D97-659A-465F-8B08-D36958BCFC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59851A4C-E5C0-4C82-AE69-AD7215CB73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EE4C30CE-E030-4574-820F-3BF1646E2C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86280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Light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CC25C14-4D00-4EC5-97D8-4A31899EAC0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76324" y="2"/>
            <a:ext cx="6315676" cy="6857999"/>
          </a:xfrm>
          <a:custGeom>
            <a:avLst/>
            <a:gdLst>
              <a:gd name="connsiteX0" fmla="*/ 3428610 w 6315676"/>
              <a:gd name="connsiteY0" fmla="*/ 0 h 6857999"/>
              <a:gd name="connsiteX1" fmla="*/ 6315676 w 6315676"/>
              <a:gd name="connsiteY1" fmla="*/ 0 h 6857999"/>
              <a:gd name="connsiteX2" fmla="*/ 6315676 w 6315676"/>
              <a:gd name="connsiteY2" fmla="*/ 6857999 h 6857999"/>
              <a:gd name="connsiteX3" fmla="*/ 3428590 w 6315676"/>
              <a:gd name="connsiteY3" fmla="*/ 6857999 h 6857999"/>
              <a:gd name="connsiteX4" fmla="*/ 3202718 w 6315676"/>
              <a:gd name="connsiteY4" fmla="*/ 6846813 h 6857999"/>
              <a:gd name="connsiteX5" fmla="*/ 1812516 w 6315676"/>
              <a:gd name="connsiteY5" fmla="*/ 6188665 h 6857999"/>
              <a:gd name="connsiteX6" fmla="*/ 669443 w 6315676"/>
              <a:gd name="connsiteY6" fmla="*/ 5045594 h 6857999"/>
              <a:gd name="connsiteX7" fmla="*/ 669443 w 6315676"/>
              <a:gd name="connsiteY7" fmla="*/ 1812693 h 6857999"/>
              <a:gd name="connsiteX8" fmla="*/ 1812516 w 6315676"/>
              <a:gd name="connsiteY8" fmla="*/ 669624 h 6857999"/>
              <a:gd name="connsiteX9" fmla="*/ 3428610 w 6315676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15676" h="6857999">
                <a:moveTo>
                  <a:pt x="3428610" y="0"/>
                </a:moveTo>
                <a:lnTo>
                  <a:pt x="6315676" y="0"/>
                </a:lnTo>
                <a:lnTo>
                  <a:pt x="6315676" y="6857999"/>
                </a:lnTo>
                <a:lnTo>
                  <a:pt x="3428590" y="6857999"/>
                </a:lnTo>
                <a:lnTo>
                  <a:pt x="3202718" y="6846813"/>
                </a:lnTo>
                <a:cubicBezTo>
                  <a:pt x="2679515" y="6794849"/>
                  <a:pt x="2187539" y="6563563"/>
                  <a:pt x="1812516" y="6188665"/>
                </a:cubicBezTo>
                <a:lnTo>
                  <a:pt x="669443" y="5045594"/>
                </a:lnTo>
                <a:cubicBezTo>
                  <a:pt x="-223147" y="4152860"/>
                  <a:pt x="-223147" y="2705572"/>
                  <a:pt x="669443" y="1812693"/>
                </a:cubicBezTo>
                <a:lnTo>
                  <a:pt x="1812516" y="669624"/>
                </a:lnTo>
                <a:cubicBezTo>
                  <a:pt x="2240971" y="241023"/>
                  <a:pt x="2822466" y="0"/>
                  <a:pt x="3428610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233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Whit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27701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5437188"/>
            <a:ext cx="5472112" cy="800100"/>
          </a:xfrm>
        </p:spPr>
        <p:txBody>
          <a:bodyPr wrap="square" bIns="0" anchor="b" anchorCtr="0"/>
          <a:lstStyle>
            <a:lvl1pPr marL="0" indent="0" algn="l">
              <a:buClr>
                <a:schemeClr val="bg1"/>
              </a:buClr>
              <a:buNone/>
              <a:defRPr sz="1200">
                <a:solidFill>
                  <a:schemeClr val="accent1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E75D40-820D-4EDA-9FBB-A30F681B2B9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92E7C581-201D-4901-8B82-D64C59A0E6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C8CB859-8AD2-4F1B-9EE6-69A9B4EE7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90E046EA-36AC-4A21-9517-033EF14BF1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B9B8A90A-DB4B-4AD6-87BF-AA2B60AE9B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D458930A-3D78-445C-BCF3-DB52B23222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B3132837-AADC-4227-B0C2-34A4C8C1B5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5677EDE6-1842-4265-AD39-AD7022078C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320D8A3D-EABA-40EE-A120-5B59DD1C99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028E8562-D2D1-41F4-B031-AF0256B16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E0C0A488-3265-4995-BC74-EF26A86FC9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B071002F-8510-40F2-820C-35B60EB8A4A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4126032B-38AF-42DC-971C-B7C2F77C7D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63D3AE47-9D03-41E2-8987-003EA5BF2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659F96A8-D154-4C9F-BDFC-CAD686757B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03BE3113-80DC-47E7-BF26-88CF0BF6D8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1411B894-0A27-40EB-8903-855D240777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FFC84F6-3168-400C-B15B-CE4E0D71A1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266D3DA2-5698-4EC5-8939-1F1B012C6C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5206E10B-FAFC-4BA6-89F6-95B7D62CC4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612EA816-C30E-403C-8FAF-046D77CA6E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457C7FC5-0AAA-40BF-8946-BD04C4D843D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AEF207E9-8E84-4C3B-B39A-AE646732AA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2D2ECA37-FFC7-47E9-A889-5D833E5A96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03B04360-A7AC-4EEB-A5E1-3EB3FBDA7C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C6B98DB1-868D-4BDF-97CE-7F9603C7D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278859A1-F5C0-477F-9577-0DA8AB4A5B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D3871EBB-449D-4786-AA5B-BCB30D6B3D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E05C578B-6E59-4B38-A959-6633383850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2CC2E70D-C3B9-4B26-8F75-2375F385B5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C885880A-1780-43EF-BF7A-BBFC7F159C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6DD6B201-55AD-463F-832B-3F31E683BE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5E660D3E-0A41-4456-8E05-8687AE8609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BE09B059-6DBF-4085-BF0B-830A47FAB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1A4DD0C2-D005-4AC8-BEEE-98979300DE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2EBF5740-602A-43E0-94EF-D221D40A42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4E88DF23-D0DD-4843-9525-C80B951709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DA79CA12-E533-47E2-933B-54581B87CB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1601AC5A-09F9-406E-81AA-4963B93231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90BA80A6-26C4-410B-91F2-1E98249236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6422E96-161A-44DE-9775-37E6C4627D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EDC62B45-DF63-4E36-8137-FCCA46726F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652E0FAE-0492-4691-9E27-70903BF7A8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A452BE96-328D-4CC9-96A7-7047A39B70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962FE551-86AE-4E18-9CA8-82127DDA0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465F19EE-9C92-4542-87E0-BB9C4622C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235D46D5-AE21-4AC9-8E71-DBB3F8FFAD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F325E9D-3133-43BD-B086-D796B86AE0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E99938F5-B4A1-4191-8391-F4ADD88183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8F9D4E1A-5F05-44B2-8CF8-5797AEC6D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128785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Dark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1617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189098" y="658799"/>
            <a:ext cx="3368590" cy="969975"/>
          </a:xfrm>
        </p:spPr>
        <p:txBody>
          <a:bodyPr wrap="square" bIns="0" anchor="t" anchorCtr="0"/>
          <a:lstStyle>
            <a:lvl1pPr marL="0" indent="0" algn="r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7B6DE78-57E3-46AA-B56F-5BD359B1CF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73C5D78-1411-4E41-A7E6-316F0B5D5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BA1FADC-BD57-44AC-B2E7-AFB7A6D557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20BC26F8-E4B0-438F-8089-6B5AB329B3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FE71624-C7EF-4ACF-9EBC-CD0BE9AE7C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2F48897-343A-40D6-8CC5-B7DF9D4A1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DA93FE41-CCE7-45FF-B2F3-04734D6E16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4884AA8-205A-4D1A-B6FF-9D5E52F30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7761BD87-CB47-4029-9706-3537E58ADB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1BFB55FB-5506-4239-9F51-EBCF498676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49DDE25-93D0-465E-8E41-57A3345CE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5A893B78-16A7-4A11-B8BF-609CF757F9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3BD7F88D-1612-4963-B9A3-A2B88B23BE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1B34450B-F519-461B-9C56-5104745160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26694041-4614-4C68-8877-5978B949FD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F37E7582-EF8F-49BB-B440-E6A692343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016791-1DAB-4700-83F1-2F1ABBAA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A1B23E2-10CD-4E6D-B4FE-DF1020F2A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72F34872-0207-4BD0-949A-F3619C7A4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F5B7E6D-C9C2-48DE-9624-6433D9567C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FDA8C6BD-830E-43DA-82BD-8AEEEC09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CE51BB6E-25CD-4492-9916-AB376A053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9C8496CF-152B-4227-BB34-23060D13B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46E86BA1-DBFA-46C3-AFFF-AC875537BE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E513AB6C-769C-4916-A20E-5061A37D8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7E177FFC-88BD-4460-92B2-407E31262E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87EEAB0A-6152-49A9-97CF-3581B9438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5DCF8361-548F-4DEE-B669-472F4479C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7724F6DC-3084-4DB1-8E76-3E104248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158656D4-8511-4626-8A7B-AA90E91226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4E511542-D895-49FF-947B-A02E9084E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C083ADB5-DE65-4941-9633-F7275B2C2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18351E18-7F70-4E09-BBE1-E44B45F762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D50C385F-C635-4F81-8254-001A9A2E2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49686BEA-B8F2-4B66-AC96-62CE42340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31928231-372D-46D6-8174-3E5070E40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42D4DAC9-1F64-494D-BE7B-D03E2E9241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51171000-CAD5-4B32-9719-82FD21CF6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5E107D68-8E10-4526-BE6A-7319E30511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68ECDDB5-F30D-468B-9BFF-D616C7F43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12C0FFF-09FC-4E07-811B-1F3F18C16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59C7F935-134B-4A8C-BD69-78A07B527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D0E404A6-6B13-4186-947E-EC02CCA3A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4898EECF-F2F3-468D-B380-673B07C38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BFDD9270-6EEC-46D4-B2EA-B950C0B250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D2728335-C9E4-41F2-898D-A71B98408D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B7DB4142-13A8-4841-BE5C-9FE0B82952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9F6BD9D-EB66-4554-92FC-3C3FDC4885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7D80413E-05F0-4D2B-B11E-772F8D9C9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191B2745-8AF2-4652-AA63-65AD87122B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936482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Light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189098" y="658799"/>
            <a:ext cx="3368590" cy="969975"/>
          </a:xfrm>
        </p:spPr>
        <p:txBody>
          <a:bodyPr wrap="square" bIns="0" anchor="t" anchorCtr="0"/>
          <a:lstStyle>
            <a:lvl1pPr marL="0" indent="0" algn="r">
              <a:buClr>
                <a:schemeClr val="bg1"/>
              </a:buClr>
              <a:buNone/>
              <a:defRPr sz="1200">
                <a:solidFill>
                  <a:schemeClr val="tx2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7B6DE78-57E3-46AA-B56F-5BD359B1CF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73C5D78-1411-4E41-A7E6-316F0B5D5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BA1FADC-BD57-44AC-B2E7-AFB7A6D557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20BC26F8-E4B0-438F-8089-6B5AB329B3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FE71624-C7EF-4ACF-9EBC-CD0BE9AE7C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2F48897-343A-40D6-8CC5-B7DF9D4A1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DA93FE41-CCE7-45FF-B2F3-04734D6E16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4884AA8-205A-4D1A-B6FF-9D5E52F30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7761BD87-CB47-4029-9706-3537E58ADB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1BFB55FB-5506-4239-9F51-EBCF498676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49DDE25-93D0-465E-8E41-57A3345CE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5A893B78-16A7-4A11-B8BF-609CF757F9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3BD7F88D-1612-4963-B9A3-A2B88B23BE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1B34450B-F519-461B-9C56-5104745160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26694041-4614-4C68-8877-5978B949FD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F37E7582-EF8F-49BB-B440-E6A692343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016791-1DAB-4700-83F1-2F1ABBAA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A1B23E2-10CD-4E6D-B4FE-DF1020F2A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72F34872-0207-4BD0-949A-F3619C7A4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F5B7E6D-C9C2-48DE-9624-6433D9567C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FDA8C6BD-830E-43DA-82BD-8AEEEC09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CE51BB6E-25CD-4492-9916-AB376A053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9C8496CF-152B-4227-BB34-23060D13B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46E86BA1-DBFA-46C3-AFFF-AC875537BE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E513AB6C-769C-4916-A20E-5061A37D8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7E177FFC-88BD-4460-92B2-407E31262E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87EEAB0A-6152-49A9-97CF-3581B9438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5DCF8361-548F-4DEE-B669-472F4479C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7724F6DC-3084-4DB1-8E76-3E104248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158656D4-8511-4626-8A7B-AA90E91226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4E511542-D895-49FF-947B-A02E9084E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C083ADB5-DE65-4941-9633-F7275B2C2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18351E18-7F70-4E09-BBE1-E44B45F762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D50C385F-C635-4F81-8254-001A9A2E2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49686BEA-B8F2-4B66-AC96-62CE42340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31928231-372D-46D6-8174-3E5070E40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42D4DAC9-1F64-494D-BE7B-D03E2E9241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51171000-CAD5-4B32-9719-82FD21CF6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5E107D68-8E10-4526-BE6A-7319E30511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68ECDDB5-F30D-468B-9BFF-D616C7F43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12C0FFF-09FC-4E07-811B-1F3F18C16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59C7F935-134B-4A8C-BD69-78A07B527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D0E404A6-6B13-4186-947E-EC02CCA3A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4898EECF-F2F3-468D-B380-673B07C38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BFDD9270-6EEC-46D4-B2EA-B950C0B250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D2728335-C9E4-41F2-898D-A71B98408D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B7DB4142-13A8-4841-BE5C-9FE0B82952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9F6BD9D-EB66-4554-92FC-3C3FDC4885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7D80413E-05F0-4D2B-B11E-772F8D9C9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191B2745-8AF2-4652-AA63-65AD87122B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8641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aph_Whit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0"/>
            <a:ext cx="5472113" cy="1617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189098" y="658799"/>
            <a:ext cx="3368590" cy="969975"/>
          </a:xfrm>
        </p:spPr>
        <p:txBody>
          <a:bodyPr wrap="square" bIns="0" anchor="t" anchorCtr="0"/>
          <a:lstStyle>
            <a:lvl1pPr marL="0" indent="0" algn="r">
              <a:buClr>
                <a:schemeClr val="bg1"/>
              </a:buClr>
              <a:buNone/>
              <a:defRPr sz="1200">
                <a:solidFill>
                  <a:schemeClr val="tx2"/>
                </a:solidFill>
              </a:defRPr>
            </a:lvl1pPr>
            <a:lvl2pPr marL="27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2pPr>
            <a:lvl3pPr marL="54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3pPr>
            <a:lvl4pPr marL="900000" indent="0">
              <a:buClr>
                <a:schemeClr val="bg1"/>
              </a:buClr>
              <a:buNone/>
              <a:defRPr sz="1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ource</a:t>
            </a:r>
            <a:endParaRPr lang="en-GB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7B6DE78-57E3-46AA-B56F-5BD359B1CFF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913089" y="6466809"/>
            <a:ext cx="4015386" cy="154800"/>
            <a:chOff x="1" y="2013"/>
            <a:chExt cx="7678" cy="29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73C5D78-1411-4E41-A7E6-316F0B5D5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4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ABA1FADC-BD57-44AC-B2E7-AFB7A6D557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20BC26F8-E4B0-438F-8089-6B5AB329B3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FE71624-C7EF-4ACF-9EBC-CD0BE9AE7C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4" y="2073"/>
              <a:ext cx="124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4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8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5" y="108"/>
                    <a:pt x="54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8" y="13"/>
                  </a:cubicBezTo>
                  <a:cubicBezTo>
                    <a:pt x="29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2F48897-343A-40D6-8CC5-B7DF9D4A10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" y="2076"/>
              <a:ext cx="134" cy="133"/>
            </a:xfrm>
            <a:custGeom>
              <a:avLst/>
              <a:gdLst>
                <a:gd name="T0" fmla="*/ 134 w 134"/>
                <a:gd name="T1" fmla="*/ 0 h 133"/>
                <a:gd name="T2" fmla="*/ 134 w 134"/>
                <a:gd name="T3" fmla="*/ 6 h 133"/>
                <a:gd name="T4" fmla="*/ 79 w 134"/>
                <a:gd name="T5" fmla="*/ 133 h 133"/>
                <a:gd name="T6" fmla="*/ 54 w 134"/>
                <a:gd name="T7" fmla="*/ 133 h 133"/>
                <a:gd name="T8" fmla="*/ 0 w 134"/>
                <a:gd name="T9" fmla="*/ 6 h 133"/>
                <a:gd name="T10" fmla="*/ 0 w 134"/>
                <a:gd name="T11" fmla="*/ 0 h 133"/>
                <a:gd name="T12" fmla="*/ 20 w 134"/>
                <a:gd name="T13" fmla="*/ 0 h 133"/>
                <a:gd name="T14" fmla="*/ 60 w 134"/>
                <a:gd name="T15" fmla="*/ 100 h 133"/>
                <a:gd name="T16" fmla="*/ 64 w 134"/>
                <a:gd name="T17" fmla="*/ 114 h 133"/>
                <a:gd name="T18" fmla="*/ 68 w 134"/>
                <a:gd name="T19" fmla="*/ 114 h 133"/>
                <a:gd name="T20" fmla="*/ 73 w 134"/>
                <a:gd name="T21" fmla="*/ 101 h 133"/>
                <a:gd name="T22" fmla="*/ 113 w 134"/>
                <a:gd name="T23" fmla="*/ 0 h 133"/>
                <a:gd name="T24" fmla="*/ 134 w 134"/>
                <a:gd name="T25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33">
                  <a:moveTo>
                    <a:pt x="134" y="0"/>
                  </a:moveTo>
                  <a:lnTo>
                    <a:pt x="134" y="6"/>
                  </a:lnTo>
                  <a:lnTo>
                    <a:pt x="79" y="133"/>
                  </a:lnTo>
                  <a:lnTo>
                    <a:pt x="54" y="133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60" y="100"/>
                  </a:lnTo>
                  <a:lnTo>
                    <a:pt x="64" y="114"/>
                  </a:lnTo>
                  <a:lnTo>
                    <a:pt x="68" y="114"/>
                  </a:lnTo>
                  <a:lnTo>
                    <a:pt x="73" y="101"/>
                  </a:lnTo>
                  <a:lnTo>
                    <a:pt x="113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DA93FE41-CCE7-45FF-B2F3-04734D6E16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81" y="2017"/>
              <a:ext cx="134" cy="196"/>
            </a:xfrm>
            <a:custGeom>
              <a:avLst/>
              <a:gdLst>
                <a:gd name="T0" fmla="*/ 52 w 104"/>
                <a:gd name="T1" fmla="*/ 43 h 151"/>
                <a:gd name="T2" fmla="*/ 104 w 104"/>
                <a:gd name="T3" fmla="*/ 96 h 151"/>
                <a:gd name="T4" fmla="*/ 52 w 104"/>
                <a:gd name="T5" fmla="*/ 151 h 151"/>
                <a:gd name="T6" fmla="*/ 0 w 104"/>
                <a:gd name="T7" fmla="*/ 97 h 151"/>
                <a:gd name="T8" fmla="*/ 52 w 104"/>
                <a:gd name="T9" fmla="*/ 43 h 151"/>
                <a:gd name="T10" fmla="*/ 52 w 104"/>
                <a:gd name="T11" fmla="*/ 137 h 151"/>
                <a:gd name="T12" fmla="*/ 87 w 104"/>
                <a:gd name="T13" fmla="*/ 97 h 151"/>
                <a:gd name="T14" fmla="*/ 52 w 104"/>
                <a:gd name="T15" fmla="*/ 56 h 151"/>
                <a:gd name="T16" fmla="*/ 17 w 104"/>
                <a:gd name="T17" fmla="*/ 97 h 151"/>
                <a:gd name="T18" fmla="*/ 52 w 104"/>
                <a:gd name="T19" fmla="*/ 137 h 151"/>
                <a:gd name="T20" fmla="*/ 67 w 104"/>
                <a:gd name="T21" fmla="*/ 10 h 151"/>
                <a:gd name="T22" fmla="*/ 75 w 104"/>
                <a:gd name="T23" fmla="*/ 2 h 151"/>
                <a:gd name="T24" fmla="*/ 86 w 104"/>
                <a:gd name="T25" fmla="*/ 5 h 151"/>
                <a:gd name="T26" fmla="*/ 66 w 104"/>
                <a:gd name="T27" fmla="*/ 22 h 151"/>
                <a:gd name="T28" fmla="*/ 38 w 104"/>
                <a:gd name="T29" fmla="*/ 12 h 151"/>
                <a:gd name="T30" fmla="*/ 28 w 104"/>
                <a:gd name="T31" fmla="*/ 20 h 151"/>
                <a:gd name="T32" fmla="*/ 18 w 104"/>
                <a:gd name="T33" fmla="*/ 15 h 151"/>
                <a:gd name="T34" fmla="*/ 39 w 104"/>
                <a:gd name="T35" fmla="*/ 0 h 151"/>
                <a:gd name="T36" fmla="*/ 67 w 104"/>
                <a:gd name="T37" fmla="*/ 1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151">
                  <a:moveTo>
                    <a:pt x="52" y="43"/>
                  </a:moveTo>
                  <a:cubicBezTo>
                    <a:pt x="83" y="43"/>
                    <a:pt x="104" y="64"/>
                    <a:pt x="104" y="96"/>
                  </a:cubicBezTo>
                  <a:cubicBezTo>
                    <a:pt x="104" y="130"/>
                    <a:pt x="84" y="151"/>
                    <a:pt x="52" y="151"/>
                  </a:cubicBezTo>
                  <a:cubicBezTo>
                    <a:pt x="20" y="151"/>
                    <a:pt x="0" y="129"/>
                    <a:pt x="0" y="97"/>
                  </a:cubicBezTo>
                  <a:cubicBezTo>
                    <a:pt x="0" y="64"/>
                    <a:pt x="21" y="43"/>
                    <a:pt x="52" y="43"/>
                  </a:cubicBezTo>
                  <a:close/>
                  <a:moveTo>
                    <a:pt x="52" y="137"/>
                  </a:moveTo>
                  <a:cubicBezTo>
                    <a:pt x="72" y="137"/>
                    <a:pt x="87" y="122"/>
                    <a:pt x="87" y="97"/>
                  </a:cubicBezTo>
                  <a:cubicBezTo>
                    <a:pt x="87" y="71"/>
                    <a:pt x="72" y="56"/>
                    <a:pt x="52" y="56"/>
                  </a:cubicBezTo>
                  <a:cubicBezTo>
                    <a:pt x="33" y="56"/>
                    <a:pt x="17" y="71"/>
                    <a:pt x="17" y="97"/>
                  </a:cubicBezTo>
                  <a:cubicBezTo>
                    <a:pt x="17" y="122"/>
                    <a:pt x="33" y="137"/>
                    <a:pt x="52" y="137"/>
                  </a:cubicBezTo>
                  <a:close/>
                  <a:moveTo>
                    <a:pt x="67" y="10"/>
                  </a:moveTo>
                  <a:cubicBezTo>
                    <a:pt x="70" y="10"/>
                    <a:pt x="74" y="7"/>
                    <a:pt x="75" y="2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16"/>
                    <a:pt x="76" y="22"/>
                    <a:pt x="66" y="22"/>
                  </a:cubicBezTo>
                  <a:cubicBezTo>
                    <a:pt x="51" y="22"/>
                    <a:pt x="47" y="12"/>
                    <a:pt x="38" y="12"/>
                  </a:cubicBezTo>
                  <a:cubicBezTo>
                    <a:pt x="35" y="12"/>
                    <a:pt x="30" y="12"/>
                    <a:pt x="28" y="20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2" y="3"/>
                    <a:pt x="30" y="0"/>
                    <a:pt x="39" y="0"/>
                  </a:cubicBezTo>
                  <a:cubicBezTo>
                    <a:pt x="52" y="0"/>
                    <a:pt x="56" y="10"/>
                    <a:pt x="67" y="10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14884AA8-205A-4D1A-B6FF-9D5E52F30B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29" y="2030"/>
              <a:ext cx="72" cy="179"/>
            </a:xfrm>
            <a:custGeom>
              <a:avLst/>
              <a:gdLst>
                <a:gd name="T0" fmla="*/ 32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2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2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2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7761BD87-CB47-4029-9706-3537E58ADB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30" y="2013"/>
              <a:ext cx="21" cy="196"/>
            </a:xfrm>
            <a:prstGeom prst="rect">
              <a:avLst/>
            </a:pr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1BFB55FB-5506-4239-9F51-EBCF498676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86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40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349DDE25-93D0-465E-8E41-57A3345CE3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34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id="{5A893B78-16A7-4A11-B8BF-609CF757F9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53" y="2073"/>
              <a:ext cx="126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2 h 108"/>
                <a:gd name="T10" fmla="*/ 93 w 98"/>
                <a:gd name="T11" fmla="*/ 82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3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3"/>
                    <a:pt x="49" y="13"/>
                  </a:cubicBezTo>
                  <a:cubicBezTo>
                    <a:pt x="30" y="13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id="{3BD7F88D-1612-4963-B9A3-A2B88B23BED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61" y="2020"/>
              <a:ext cx="174" cy="189"/>
            </a:xfrm>
            <a:custGeom>
              <a:avLst/>
              <a:gdLst>
                <a:gd name="T0" fmla="*/ 70 w 174"/>
                <a:gd name="T1" fmla="*/ 0 h 189"/>
                <a:gd name="T2" fmla="*/ 105 w 174"/>
                <a:gd name="T3" fmla="*/ 0 h 189"/>
                <a:gd name="T4" fmla="*/ 174 w 174"/>
                <a:gd name="T5" fmla="*/ 183 h 189"/>
                <a:gd name="T6" fmla="*/ 174 w 174"/>
                <a:gd name="T7" fmla="*/ 189 h 189"/>
                <a:gd name="T8" fmla="*/ 152 w 174"/>
                <a:gd name="T9" fmla="*/ 189 h 189"/>
                <a:gd name="T10" fmla="*/ 127 w 174"/>
                <a:gd name="T11" fmla="*/ 122 h 189"/>
                <a:gd name="T12" fmla="*/ 45 w 174"/>
                <a:gd name="T13" fmla="*/ 122 h 189"/>
                <a:gd name="T14" fmla="*/ 21 w 174"/>
                <a:gd name="T15" fmla="*/ 189 h 189"/>
                <a:gd name="T16" fmla="*/ 0 w 174"/>
                <a:gd name="T17" fmla="*/ 189 h 189"/>
                <a:gd name="T18" fmla="*/ 0 w 174"/>
                <a:gd name="T19" fmla="*/ 183 h 189"/>
                <a:gd name="T20" fmla="*/ 70 w 174"/>
                <a:gd name="T21" fmla="*/ 0 h 189"/>
                <a:gd name="T22" fmla="*/ 53 w 174"/>
                <a:gd name="T23" fmla="*/ 102 h 189"/>
                <a:gd name="T24" fmla="*/ 119 w 174"/>
                <a:gd name="T25" fmla="*/ 102 h 189"/>
                <a:gd name="T26" fmla="*/ 90 w 174"/>
                <a:gd name="T27" fmla="*/ 27 h 189"/>
                <a:gd name="T28" fmla="*/ 87 w 174"/>
                <a:gd name="T29" fmla="*/ 15 h 189"/>
                <a:gd name="T30" fmla="*/ 85 w 174"/>
                <a:gd name="T31" fmla="*/ 15 h 189"/>
                <a:gd name="T32" fmla="*/ 81 w 174"/>
                <a:gd name="T33" fmla="*/ 27 h 189"/>
                <a:gd name="T34" fmla="*/ 53 w 174"/>
                <a:gd name="T35" fmla="*/ 10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4" h="189">
                  <a:moveTo>
                    <a:pt x="70" y="0"/>
                  </a:moveTo>
                  <a:lnTo>
                    <a:pt x="105" y="0"/>
                  </a:lnTo>
                  <a:lnTo>
                    <a:pt x="174" y="183"/>
                  </a:lnTo>
                  <a:lnTo>
                    <a:pt x="174" y="189"/>
                  </a:lnTo>
                  <a:lnTo>
                    <a:pt x="152" y="189"/>
                  </a:lnTo>
                  <a:lnTo>
                    <a:pt x="127" y="122"/>
                  </a:lnTo>
                  <a:lnTo>
                    <a:pt x="45" y="122"/>
                  </a:lnTo>
                  <a:lnTo>
                    <a:pt x="21" y="189"/>
                  </a:lnTo>
                  <a:lnTo>
                    <a:pt x="0" y="189"/>
                  </a:lnTo>
                  <a:lnTo>
                    <a:pt x="0" y="183"/>
                  </a:lnTo>
                  <a:lnTo>
                    <a:pt x="70" y="0"/>
                  </a:lnTo>
                  <a:close/>
                  <a:moveTo>
                    <a:pt x="53" y="102"/>
                  </a:moveTo>
                  <a:lnTo>
                    <a:pt x="119" y="102"/>
                  </a:lnTo>
                  <a:lnTo>
                    <a:pt x="90" y="27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1" y="27"/>
                  </a:lnTo>
                  <a:lnTo>
                    <a:pt x="53" y="102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7">
              <a:extLst>
                <a:ext uri="{FF2B5EF4-FFF2-40B4-BE49-F238E27FC236}">
                  <a16:creationId xmlns:a16="http://schemas.microsoft.com/office/drawing/2014/main" id="{1B34450B-F519-461B-9C56-5104745160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1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7 w 56"/>
                <a:gd name="T3" fmla="*/ 1 h 104"/>
                <a:gd name="T4" fmla="*/ 17 w 56"/>
                <a:gd name="T5" fmla="*/ 19 h 104"/>
                <a:gd name="T6" fmla="*/ 20 w 56"/>
                <a:gd name="T7" fmla="*/ 19 h 104"/>
                <a:gd name="T8" fmla="*/ 42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2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2" y="7"/>
                    <a:pt x="30" y="0"/>
                    <a:pt x="4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0" y="15"/>
                    <a:pt x="19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id="{26694041-4614-4C68-8877-5978B949FD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840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4 w 97"/>
                <a:gd name="T7" fmla="*/ 94 h 108"/>
                <a:gd name="T8" fmla="*/ 88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6" y="94"/>
                    <a:pt x="54" y="94"/>
                  </a:cubicBezTo>
                  <a:cubicBezTo>
                    <a:pt x="65" y="94"/>
                    <a:pt x="78" y="90"/>
                    <a:pt x="88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9">
              <a:extLst>
                <a:ext uri="{FF2B5EF4-FFF2-40B4-BE49-F238E27FC236}">
                  <a16:creationId xmlns:a16="http://schemas.microsoft.com/office/drawing/2014/main" id="{F37E7582-EF8F-49BB-B440-E6A6923430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92" y="2074"/>
              <a:ext cx="117" cy="135"/>
            </a:xfrm>
            <a:custGeom>
              <a:avLst/>
              <a:gdLst>
                <a:gd name="T0" fmla="*/ 75 w 91"/>
                <a:gd name="T1" fmla="*/ 40 h 104"/>
                <a:gd name="T2" fmla="*/ 46 w 91"/>
                <a:gd name="T3" fmla="*/ 14 h 104"/>
                <a:gd name="T4" fmla="*/ 16 w 91"/>
                <a:gd name="T5" fmla="*/ 38 h 104"/>
                <a:gd name="T6" fmla="*/ 16 w 91"/>
                <a:gd name="T7" fmla="*/ 104 h 104"/>
                <a:gd name="T8" fmla="*/ 0 w 91"/>
                <a:gd name="T9" fmla="*/ 104 h 104"/>
                <a:gd name="T10" fmla="*/ 0 w 91"/>
                <a:gd name="T11" fmla="*/ 1 h 104"/>
                <a:gd name="T12" fmla="*/ 15 w 91"/>
                <a:gd name="T13" fmla="*/ 1 h 104"/>
                <a:gd name="T14" fmla="*/ 15 w 91"/>
                <a:gd name="T15" fmla="*/ 19 h 104"/>
                <a:gd name="T16" fmla="*/ 18 w 91"/>
                <a:gd name="T17" fmla="*/ 19 h 104"/>
                <a:gd name="T18" fmla="*/ 52 w 91"/>
                <a:gd name="T19" fmla="*/ 0 h 104"/>
                <a:gd name="T20" fmla="*/ 91 w 91"/>
                <a:gd name="T21" fmla="*/ 38 h 104"/>
                <a:gd name="T22" fmla="*/ 91 w 91"/>
                <a:gd name="T23" fmla="*/ 104 h 104"/>
                <a:gd name="T24" fmla="*/ 75 w 91"/>
                <a:gd name="T25" fmla="*/ 104 h 104"/>
                <a:gd name="T26" fmla="*/ 75 w 91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04">
                  <a:moveTo>
                    <a:pt x="75" y="40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4" y="14"/>
                    <a:pt x="16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8" y="0"/>
                    <a:pt x="52" y="0"/>
                  </a:cubicBezTo>
                  <a:cubicBezTo>
                    <a:pt x="75" y="0"/>
                    <a:pt x="91" y="11"/>
                    <a:pt x="91" y="38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D3016791-1DAB-4700-83F1-2F1ABBAA9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6" y="2015"/>
              <a:ext cx="129" cy="197"/>
            </a:xfrm>
            <a:custGeom>
              <a:avLst/>
              <a:gdLst>
                <a:gd name="T0" fmla="*/ 100 w 100"/>
                <a:gd name="T1" fmla="*/ 0 h 152"/>
                <a:gd name="T2" fmla="*/ 100 w 100"/>
                <a:gd name="T3" fmla="*/ 150 h 152"/>
                <a:gd name="T4" fmla="*/ 83 w 100"/>
                <a:gd name="T5" fmla="*/ 150 h 152"/>
                <a:gd name="T6" fmla="*/ 83 w 100"/>
                <a:gd name="T7" fmla="*/ 137 h 152"/>
                <a:gd name="T8" fmla="*/ 80 w 100"/>
                <a:gd name="T9" fmla="*/ 137 h 152"/>
                <a:gd name="T10" fmla="*/ 49 w 100"/>
                <a:gd name="T11" fmla="*/ 152 h 152"/>
                <a:gd name="T12" fmla="*/ 0 w 100"/>
                <a:gd name="T13" fmla="*/ 100 h 152"/>
                <a:gd name="T14" fmla="*/ 52 w 100"/>
                <a:gd name="T15" fmla="*/ 45 h 152"/>
                <a:gd name="T16" fmla="*/ 83 w 100"/>
                <a:gd name="T17" fmla="*/ 61 h 152"/>
                <a:gd name="T18" fmla="*/ 83 w 100"/>
                <a:gd name="T19" fmla="*/ 0 h 152"/>
                <a:gd name="T20" fmla="*/ 100 w 100"/>
                <a:gd name="T21" fmla="*/ 0 h 152"/>
                <a:gd name="T22" fmla="*/ 83 w 100"/>
                <a:gd name="T23" fmla="*/ 109 h 152"/>
                <a:gd name="T24" fmla="*/ 83 w 100"/>
                <a:gd name="T25" fmla="*/ 81 h 152"/>
                <a:gd name="T26" fmla="*/ 54 w 100"/>
                <a:gd name="T27" fmla="*/ 59 h 152"/>
                <a:gd name="T28" fmla="*/ 17 w 100"/>
                <a:gd name="T29" fmla="*/ 99 h 152"/>
                <a:gd name="T30" fmla="*/ 54 w 100"/>
                <a:gd name="T31" fmla="*/ 138 h 152"/>
                <a:gd name="T32" fmla="*/ 83 w 100"/>
                <a:gd name="T33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52">
                  <a:moveTo>
                    <a:pt x="100" y="0"/>
                  </a:moveTo>
                  <a:cubicBezTo>
                    <a:pt x="100" y="150"/>
                    <a:pt x="100" y="150"/>
                    <a:pt x="100" y="150"/>
                  </a:cubicBezTo>
                  <a:cubicBezTo>
                    <a:pt x="83" y="150"/>
                    <a:pt x="83" y="150"/>
                    <a:pt x="83" y="150"/>
                  </a:cubicBezTo>
                  <a:cubicBezTo>
                    <a:pt x="83" y="137"/>
                    <a:pt x="83" y="137"/>
                    <a:pt x="83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72" y="147"/>
                    <a:pt x="62" y="152"/>
                    <a:pt x="49" y="152"/>
                  </a:cubicBezTo>
                  <a:cubicBezTo>
                    <a:pt x="21" y="152"/>
                    <a:pt x="0" y="131"/>
                    <a:pt x="0" y="100"/>
                  </a:cubicBezTo>
                  <a:cubicBezTo>
                    <a:pt x="0" y="66"/>
                    <a:pt x="24" y="45"/>
                    <a:pt x="52" y="45"/>
                  </a:cubicBezTo>
                  <a:cubicBezTo>
                    <a:pt x="64" y="45"/>
                    <a:pt x="80" y="51"/>
                    <a:pt x="83" y="61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100" y="0"/>
                  </a:lnTo>
                  <a:close/>
                  <a:moveTo>
                    <a:pt x="83" y="109"/>
                  </a:moveTo>
                  <a:cubicBezTo>
                    <a:pt x="83" y="81"/>
                    <a:pt x="83" y="81"/>
                    <a:pt x="83" y="81"/>
                  </a:cubicBezTo>
                  <a:cubicBezTo>
                    <a:pt x="83" y="67"/>
                    <a:pt x="70" y="59"/>
                    <a:pt x="54" y="59"/>
                  </a:cubicBezTo>
                  <a:cubicBezTo>
                    <a:pt x="36" y="59"/>
                    <a:pt x="17" y="72"/>
                    <a:pt x="17" y="99"/>
                  </a:cubicBezTo>
                  <a:cubicBezTo>
                    <a:pt x="17" y="124"/>
                    <a:pt x="35" y="138"/>
                    <a:pt x="54" y="138"/>
                  </a:cubicBezTo>
                  <a:cubicBezTo>
                    <a:pt x="69" y="138"/>
                    <a:pt x="83" y="125"/>
                    <a:pt x="83" y="109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EA1B23E2-10CD-4E6D-B4FE-DF1020F2A3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93" y="2073"/>
              <a:ext cx="113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3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49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6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72F34872-0207-4BD0-949A-F3619C7A4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1" y="2074"/>
              <a:ext cx="213" cy="135"/>
            </a:xfrm>
            <a:custGeom>
              <a:avLst/>
              <a:gdLst>
                <a:gd name="T0" fmla="*/ 75 w 165"/>
                <a:gd name="T1" fmla="*/ 38 h 104"/>
                <a:gd name="T2" fmla="*/ 46 w 165"/>
                <a:gd name="T3" fmla="*/ 14 h 104"/>
                <a:gd name="T4" fmla="*/ 16 w 165"/>
                <a:gd name="T5" fmla="*/ 38 h 104"/>
                <a:gd name="T6" fmla="*/ 16 w 165"/>
                <a:gd name="T7" fmla="*/ 104 h 104"/>
                <a:gd name="T8" fmla="*/ 0 w 165"/>
                <a:gd name="T9" fmla="*/ 104 h 104"/>
                <a:gd name="T10" fmla="*/ 0 w 165"/>
                <a:gd name="T11" fmla="*/ 1 h 104"/>
                <a:gd name="T12" fmla="*/ 16 w 165"/>
                <a:gd name="T13" fmla="*/ 1 h 104"/>
                <a:gd name="T14" fmla="*/ 16 w 165"/>
                <a:gd name="T15" fmla="*/ 19 h 104"/>
                <a:gd name="T16" fmla="*/ 18 w 165"/>
                <a:gd name="T17" fmla="*/ 19 h 104"/>
                <a:gd name="T18" fmla="*/ 51 w 165"/>
                <a:gd name="T19" fmla="*/ 0 h 104"/>
                <a:gd name="T20" fmla="*/ 86 w 165"/>
                <a:gd name="T21" fmla="*/ 21 h 104"/>
                <a:gd name="T22" fmla="*/ 89 w 165"/>
                <a:gd name="T23" fmla="*/ 21 h 104"/>
                <a:gd name="T24" fmla="*/ 125 w 165"/>
                <a:gd name="T25" fmla="*/ 0 h 104"/>
                <a:gd name="T26" fmla="*/ 165 w 165"/>
                <a:gd name="T27" fmla="*/ 37 h 104"/>
                <a:gd name="T28" fmla="*/ 165 w 165"/>
                <a:gd name="T29" fmla="*/ 104 h 104"/>
                <a:gd name="T30" fmla="*/ 149 w 165"/>
                <a:gd name="T31" fmla="*/ 104 h 104"/>
                <a:gd name="T32" fmla="*/ 149 w 165"/>
                <a:gd name="T33" fmla="*/ 38 h 104"/>
                <a:gd name="T34" fmla="*/ 121 w 165"/>
                <a:gd name="T35" fmla="*/ 14 h 104"/>
                <a:gd name="T36" fmla="*/ 91 w 165"/>
                <a:gd name="T37" fmla="*/ 39 h 104"/>
                <a:gd name="T38" fmla="*/ 91 w 165"/>
                <a:gd name="T39" fmla="*/ 104 h 104"/>
                <a:gd name="T40" fmla="*/ 75 w 165"/>
                <a:gd name="T41" fmla="*/ 104 h 104"/>
                <a:gd name="T42" fmla="*/ 75 w 165"/>
                <a:gd name="T43" fmla="*/ 3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104">
                  <a:moveTo>
                    <a:pt x="75" y="38"/>
                  </a:moveTo>
                  <a:cubicBezTo>
                    <a:pt x="75" y="23"/>
                    <a:pt x="63" y="14"/>
                    <a:pt x="46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5"/>
                    <a:pt x="39" y="0"/>
                    <a:pt x="51" y="0"/>
                  </a:cubicBezTo>
                  <a:cubicBezTo>
                    <a:pt x="72" y="0"/>
                    <a:pt x="82" y="9"/>
                    <a:pt x="86" y="21"/>
                  </a:cubicBezTo>
                  <a:cubicBezTo>
                    <a:pt x="89" y="21"/>
                    <a:pt x="89" y="21"/>
                    <a:pt x="89" y="21"/>
                  </a:cubicBezTo>
                  <a:cubicBezTo>
                    <a:pt x="95" y="7"/>
                    <a:pt x="112" y="0"/>
                    <a:pt x="125" y="0"/>
                  </a:cubicBezTo>
                  <a:cubicBezTo>
                    <a:pt x="149" y="0"/>
                    <a:pt x="165" y="11"/>
                    <a:pt x="165" y="37"/>
                  </a:cubicBezTo>
                  <a:cubicBezTo>
                    <a:pt x="165" y="104"/>
                    <a:pt x="165" y="104"/>
                    <a:pt x="165" y="104"/>
                  </a:cubicBezTo>
                  <a:cubicBezTo>
                    <a:pt x="149" y="104"/>
                    <a:pt x="149" y="104"/>
                    <a:pt x="149" y="104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23"/>
                    <a:pt x="137" y="14"/>
                    <a:pt x="121" y="14"/>
                  </a:cubicBezTo>
                  <a:cubicBezTo>
                    <a:pt x="110" y="14"/>
                    <a:pt x="91" y="24"/>
                    <a:pt x="91" y="39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75" y="104"/>
                    <a:pt x="75" y="104"/>
                    <a:pt x="75" y="104"/>
                  </a:cubicBezTo>
                  <a:lnTo>
                    <a:pt x="75" y="38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7F5B7E6D-C9C2-48DE-9624-6433D9567C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87" y="2016"/>
              <a:ext cx="22" cy="193"/>
            </a:xfrm>
            <a:custGeom>
              <a:avLst/>
              <a:gdLst>
                <a:gd name="T0" fmla="*/ 0 w 22"/>
                <a:gd name="T1" fmla="*/ 27 h 193"/>
                <a:gd name="T2" fmla="*/ 0 w 22"/>
                <a:gd name="T3" fmla="*/ 0 h 193"/>
                <a:gd name="T4" fmla="*/ 22 w 22"/>
                <a:gd name="T5" fmla="*/ 0 h 193"/>
                <a:gd name="T6" fmla="*/ 22 w 22"/>
                <a:gd name="T7" fmla="*/ 27 h 193"/>
                <a:gd name="T8" fmla="*/ 0 w 22"/>
                <a:gd name="T9" fmla="*/ 27 h 193"/>
                <a:gd name="T10" fmla="*/ 0 w 22"/>
                <a:gd name="T11" fmla="*/ 193 h 193"/>
                <a:gd name="T12" fmla="*/ 0 w 22"/>
                <a:gd name="T13" fmla="*/ 60 h 193"/>
                <a:gd name="T14" fmla="*/ 22 w 22"/>
                <a:gd name="T15" fmla="*/ 60 h 193"/>
                <a:gd name="T16" fmla="*/ 22 w 22"/>
                <a:gd name="T17" fmla="*/ 193 h 193"/>
                <a:gd name="T18" fmla="*/ 0 w 22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93">
                  <a:moveTo>
                    <a:pt x="0" y="27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2" y="60"/>
                  </a:lnTo>
                  <a:lnTo>
                    <a:pt x="22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FDA8C6BD-830E-43DA-82BD-8AEEEC09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9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8 w 79"/>
                <a:gd name="T5" fmla="*/ 95 h 108"/>
                <a:gd name="T6" fmla="*/ 63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5" y="95"/>
                    <a:pt x="38" y="95"/>
                  </a:cubicBezTo>
                  <a:cubicBezTo>
                    <a:pt x="55" y="95"/>
                    <a:pt x="63" y="90"/>
                    <a:pt x="63" y="79"/>
                  </a:cubicBezTo>
                  <a:cubicBezTo>
                    <a:pt x="63" y="58"/>
                    <a:pt x="0" y="64"/>
                    <a:pt x="0" y="29"/>
                  </a:cubicBezTo>
                  <a:cubicBezTo>
                    <a:pt x="0" y="12"/>
                    <a:pt x="13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5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9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:a16="http://schemas.microsoft.com/office/drawing/2014/main" id="{CE51BB6E-25CD-4492-9916-AB376A0538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57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9 w 97"/>
                <a:gd name="T9" fmla="*/ 82 h 108"/>
                <a:gd name="T10" fmla="*/ 92 w 97"/>
                <a:gd name="T11" fmla="*/ 82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9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80 w 97"/>
                <a:gd name="T27" fmla="*/ 42 h 108"/>
                <a:gd name="T28" fmla="*/ 49 w 97"/>
                <a:gd name="T29" fmla="*/ 13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2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5" y="94"/>
                    <a:pt x="78" y="90"/>
                    <a:pt x="89" y="82"/>
                  </a:cubicBezTo>
                  <a:cubicBezTo>
                    <a:pt x="92" y="82"/>
                    <a:pt x="92" y="82"/>
                    <a:pt x="92" y="82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7" y="13"/>
                    <a:pt x="49" y="13"/>
                  </a:cubicBezTo>
                  <a:cubicBezTo>
                    <a:pt x="30" y="13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9C8496CF-152B-4227-BB34-23060D13B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0" y="2017"/>
              <a:ext cx="146" cy="196"/>
            </a:xfrm>
            <a:custGeom>
              <a:avLst/>
              <a:gdLst>
                <a:gd name="T0" fmla="*/ 0 w 113"/>
                <a:gd name="T1" fmla="*/ 111 h 151"/>
                <a:gd name="T2" fmla="*/ 4 w 113"/>
                <a:gd name="T3" fmla="*/ 111 h 151"/>
                <a:gd name="T4" fmla="*/ 60 w 113"/>
                <a:gd name="T5" fmla="*/ 135 h 151"/>
                <a:gd name="T6" fmla="*/ 96 w 113"/>
                <a:gd name="T7" fmla="*/ 111 h 151"/>
                <a:gd name="T8" fmla="*/ 56 w 113"/>
                <a:gd name="T9" fmla="*/ 84 h 151"/>
                <a:gd name="T10" fmla="*/ 2 w 113"/>
                <a:gd name="T11" fmla="*/ 41 h 151"/>
                <a:gd name="T12" fmla="*/ 59 w 113"/>
                <a:gd name="T13" fmla="*/ 0 h 151"/>
                <a:gd name="T14" fmla="*/ 108 w 113"/>
                <a:gd name="T15" fmla="*/ 16 h 151"/>
                <a:gd name="T16" fmla="*/ 108 w 113"/>
                <a:gd name="T17" fmla="*/ 32 h 151"/>
                <a:gd name="T18" fmla="*/ 103 w 113"/>
                <a:gd name="T19" fmla="*/ 32 h 151"/>
                <a:gd name="T20" fmla="*/ 55 w 113"/>
                <a:gd name="T21" fmla="*/ 15 h 151"/>
                <a:gd name="T22" fmla="*/ 19 w 113"/>
                <a:gd name="T23" fmla="*/ 41 h 151"/>
                <a:gd name="T24" fmla="*/ 58 w 113"/>
                <a:gd name="T25" fmla="*/ 68 h 151"/>
                <a:gd name="T26" fmla="*/ 113 w 113"/>
                <a:gd name="T27" fmla="*/ 111 h 151"/>
                <a:gd name="T28" fmla="*/ 60 w 113"/>
                <a:gd name="T29" fmla="*/ 151 h 151"/>
                <a:gd name="T30" fmla="*/ 0 w 113"/>
                <a:gd name="T31" fmla="*/ 131 h 151"/>
                <a:gd name="T32" fmla="*/ 0 w 113"/>
                <a:gd name="T33" fmla="*/ 11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51">
                  <a:moveTo>
                    <a:pt x="0" y="111"/>
                  </a:moveTo>
                  <a:cubicBezTo>
                    <a:pt x="4" y="111"/>
                    <a:pt x="4" y="111"/>
                    <a:pt x="4" y="111"/>
                  </a:cubicBezTo>
                  <a:cubicBezTo>
                    <a:pt x="18" y="125"/>
                    <a:pt x="41" y="135"/>
                    <a:pt x="60" y="135"/>
                  </a:cubicBezTo>
                  <a:cubicBezTo>
                    <a:pt x="84" y="135"/>
                    <a:pt x="96" y="122"/>
                    <a:pt x="96" y="111"/>
                  </a:cubicBezTo>
                  <a:cubicBezTo>
                    <a:pt x="96" y="93"/>
                    <a:pt x="76" y="88"/>
                    <a:pt x="56" y="84"/>
                  </a:cubicBezTo>
                  <a:cubicBezTo>
                    <a:pt x="31" y="78"/>
                    <a:pt x="2" y="72"/>
                    <a:pt x="2" y="41"/>
                  </a:cubicBezTo>
                  <a:cubicBezTo>
                    <a:pt x="2" y="18"/>
                    <a:pt x="23" y="0"/>
                    <a:pt x="59" y="0"/>
                  </a:cubicBezTo>
                  <a:cubicBezTo>
                    <a:pt x="80" y="0"/>
                    <a:pt x="99" y="8"/>
                    <a:pt x="108" y="16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93" y="23"/>
                    <a:pt x="76" y="15"/>
                    <a:pt x="55" y="15"/>
                  </a:cubicBezTo>
                  <a:cubicBezTo>
                    <a:pt x="33" y="15"/>
                    <a:pt x="19" y="27"/>
                    <a:pt x="19" y="41"/>
                  </a:cubicBezTo>
                  <a:cubicBezTo>
                    <a:pt x="19" y="58"/>
                    <a:pt x="39" y="63"/>
                    <a:pt x="58" y="68"/>
                  </a:cubicBezTo>
                  <a:cubicBezTo>
                    <a:pt x="83" y="74"/>
                    <a:pt x="113" y="79"/>
                    <a:pt x="113" y="111"/>
                  </a:cubicBezTo>
                  <a:cubicBezTo>
                    <a:pt x="113" y="133"/>
                    <a:pt x="94" y="151"/>
                    <a:pt x="60" y="151"/>
                  </a:cubicBezTo>
                  <a:cubicBezTo>
                    <a:pt x="36" y="151"/>
                    <a:pt x="18" y="145"/>
                    <a:pt x="0" y="131"/>
                  </a:cubicBezTo>
                  <a:lnTo>
                    <a:pt x="0" y="11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:a16="http://schemas.microsoft.com/office/drawing/2014/main" id="{46E86BA1-DBFA-46C3-AFFF-AC875537BE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43" y="2016"/>
              <a:ext cx="20" cy="193"/>
            </a:xfrm>
            <a:custGeom>
              <a:avLst/>
              <a:gdLst>
                <a:gd name="T0" fmla="*/ 0 w 20"/>
                <a:gd name="T1" fmla="*/ 27 h 193"/>
                <a:gd name="T2" fmla="*/ 0 w 20"/>
                <a:gd name="T3" fmla="*/ 0 h 193"/>
                <a:gd name="T4" fmla="*/ 20 w 20"/>
                <a:gd name="T5" fmla="*/ 0 h 193"/>
                <a:gd name="T6" fmla="*/ 20 w 20"/>
                <a:gd name="T7" fmla="*/ 27 h 193"/>
                <a:gd name="T8" fmla="*/ 0 w 20"/>
                <a:gd name="T9" fmla="*/ 27 h 193"/>
                <a:gd name="T10" fmla="*/ 0 w 20"/>
                <a:gd name="T11" fmla="*/ 193 h 193"/>
                <a:gd name="T12" fmla="*/ 0 w 20"/>
                <a:gd name="T13" fmla="*/ 60 h 193"/>
                <a:gd name="T14" fmla="*/ 20 w 20"/>
                <a:gd name="T15" fmla="*/ 60 h 193"/>
                <a:gd name="T16" fmla="*/ 20 w 20"/>
                <a:gd name="T17" fmla="*/ 193 h 193"/>
                <a:gd name="T18" fmla="*/ 0 w 20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93">
                  <a:moveTo>
                    <a:pt x="0" y="27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0" y="60"/>
                  </a:lnTo>
                  <a:lnTo>
                    <a:pt x="20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:a16="http://schemas.microsoft.com/office/drawing/2014/main" id="{E513AB6C-769C-4916-A20E-5061A37D8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01" y="2013"/>
              <a:ext cx="116" cy="196"/>
            </a:xfrm>
            <a:custGeom>
              <a:avLst/>
              <a:gdLst>
                <a:gd name="T0" fmla="*/ 74 w 90"/>
                <a:gd name="T1" fmla="*/ 87 h 151"/>
                <a:gd name="T2" fmla="*/ 46 w 90"/>
                <a:gd name="T3" fmla="*/ 61 h 151"/>
                <a:gd name="T4" fmla="*/ 16 w 90"/>
                <a:gd name="T5" fmla="*/ 85 h 151"/>
                <a:gd name="T6" fmla="*/ 16 w 90"/>
                <a:gd name="T7" fmla="*/ 151 h 151"/>
                <a:gd name="T8" fmla="*/ 0 w 90"/>
                <a:gd name="T9" fmla="*/ 151 h 151"/>
                <a:gd name="T10" fmla="*/ 0 w 90"/>
                <a:gd name="T11" fmla="*/ 0 h 151"/>
                <a:gd name="T12" fmla="*/ 16 w 90"/>
                <a:gd name="T13" fmla="*/ 0 h 151"/>
                <a:gd name="T14" fmla="*/ 16 w 90"/>
                <a:gd name="T15" fmla="*/ 66 h 151"/>
                <a:gd name="T16" fmla="*/ 18 w 90"/>
                <a:gd name="T17" fmla="*/ 66 h 151"/>
                <a:gd name="T18" fmla="*/ 51 w 90"/>
                <a:gd name="T19" fmla="*/ 47 h 151"/>
                <a:gd name="T20" fmla="*/ 90 w 90"/>
                <a:gd name="T21" fmla="*/ 85 h 151"/>
                <a:gd name="T22" fmla="*/ 90 w 90"/>
                <a:gd name="T23" fmla="*/ 151 h 151"/>
                <a:gd name="T24" fmla="*/ 74 w 90"/>
                <a:gd name="T25" fmla="*/ 151 h 151"/>
                <a:gd name="T26" fmla="*/ 74 w 90"/>
                <a:gd name="T27" fmla="*/ 8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51">
                  <a:moveTo>
                    <a:pt x="74" y="87"/>
                  </a:moveTo>
                  <a:cubicBezTo>
                    <a:pt x="74" y="70"/>
                    <a:pt x="62" y="61"/>
                    <a:pt x="46" y="61"/>
                  </a:cubicBezTo>
                  <a:cubicBezTo>
                    <a:pt x="34" y="61"/>
                    <a:pt x="17" y="70"/>
                    <a:pt x="16" y="85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24" y="52"/>
                    <a:pt x="37" y="47"/>
                    <a:pt x="51" y="47"/>
                  </a:cubicBezTo>
                  <a:cubicBezTo>
                    <a:pt x="74" y="47"/>
                    <a:pt x="90" y="58"/>
                    <a:pt x="90" y="85"/>
                  </a:cubicBezTo>
                  <a:cubicBezTo>
                    <a:pt x="90" y="151"/>
                    <a:pt x="90" y="151"/>
                    <a:pt x="90" y="151"/>
                  </a:cubicBezTo>
                  <a:cubicBezTo>
                    <a:pt x="74" y="151"/>
                    <a:pt x="74" y="151"/>
                    <a:pt x="74" y="151"/>
                  </a:cubicBezTo>
                  <a:lnTo>
                    <a:pt x="74" y="87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7E177FFC-88BD-4460-92B2-407E31262E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33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87EEAB0A-6152-49A9-97CF-3581B94386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527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5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69 w 88"/>
                <a:gd name="T11" fmla="*/ 37 h 108"/>
                <a:gd name="T12" fmla="*/ 71 w 88"/>
                <a:gd name="T13" fmla="*/ 34 h 108"/>
                <a:gd name="T14" fmla="*/ 44 w 88"/>
                <a:gd name="T15" fmla="*/ 14 h 108"/>
                <a:gd name="T16" fmla="*/ 10 w 88"/>
                <a:gd name="T17" fmla="*/ 28 h 108"/>
                <a:gd name="T18" fmla="*/ 7 w 88"/>
                <a:gd name="T19" fmla="*/ 28 h 108"/>
                <a:gd name="T20" fmla="*/ 7 w 88"/>
                <a:gd name="T21" fmla="*/ 13 h 108"/>
                <a:gd name="T22" fmla="*/ 44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5 w 88"/>
                <a:gd name="T37" fmla="*/ 56 h 108"/>
                <a:gd name="T38" fmla="*/ 16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0" y="103"/>
                    <a:pt x="49" y="108"/>
                    <a:pt x="35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7"/>
                    <a:pt x="40" y="42"/>
                  </a:cubicBezTo>
                  <a:cubicBezTo>
                    <a:pt x="47" y="40"/>
                    <a:pt x="62" y="38"/>
                    <a:pt x="69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4"/>
                    <a:pt x="44" y="14"/>
                  </a:cubicBezTo>
                  <a:cubicBezTo>
                    <a:pt x="29" y="14"/>
                    <a:pt x="20" y="19"/>
                    <a:pt x="10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6" y="6"/>
                    <a:pt x="28" y="0"/>
                    <a:pt x="44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3" y="53"/>
                    <a:pt x="51" y="55"/>
                    <a:pt x="45" y="56"/>
                  </a:cubicBezTo>
                  <a:cubicBezTo>
                    <a:pt x="25" y="60"/>
                    <a:pt x="16" y="65"/>
                    <a:pt x="16" y="77"/>
                  </a:cubicBezTo>
                  <a:cubicBezTo>
                    <a:pt x="16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5DCF8361-548F-4DEE-B669-472F4479C4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70" y="2073"/>
              <a:ext cx="102" cy="140"/>
            </a:xfrm>
            <a:custGeom>
              <a:avLst/>
              <a:gdLst>
                <a:gd name="T0" fmla="*/ 0 w 79"/>
                <a:gd name="T1" fmla="*/ 80 h 108"/>
                <a:gd name="T2" fmla="*/ 5 w 79"/>
                <a:gd name="T3" fmla="*/ 80 h 108"/>
                <a:gd name="T4" fmla="*/ 39 w 79"/>
                <a:gd name="T5" fmla="*/ 95 h 108"/>
                <a:gd name="T6" fmla="*/ 64 w 79"/>
                <a:gd name="T7" fmla="*/ 79 h 108"/>
                <a:gd name="T8" fmla="*/ 0 w 79"/>
                <a:gd name="T9" fmla="*/ 29 h 108"/>
                <a:gd name="T10" fmla="*/ 41 w 79"/>
                <a:gd name="T11" fmla="*/ 0 h 108"/>
                <a:gd name="T12" fmla="*/ 74 w 79"/>
                <a:gd name="T13" fmla="*/ 9 h 108"/>
                <a:gd name="T14" fmla="*/ 74 w 79"/>
                <a:gd name="T15" fmla="*/ 25 h 108"/>
                <a:gd name="T16" fmla="*/ 69 w 79"/>
                <a:gd name="T17" fmla="*/ 25 h 108"/>
                <a:gd name="T18" fmla="*/ 41 w 79"/>
                <a:gd name="T19" fmla="*/ 13 h 108"/>
                <a:gd name="T20" fmla="*/ 16 w 79"/>
                <a:gd name="T21" fmla="*/ 27 h 108"/>
                <a:gd name="T22" fmla="*/ 79 w 79"/>
                <a:gd name="T23" fmla="*/ 78 h 108"/>
                <a:gd name="T24" fmla="*/ 38 w 79"/>
                <a:gd name="T25" fmla="*/ 108 h 108"/>
                <a:gd name="T26" fmla="*/ 0 w 79"/>
                <a:gd name="T27" fmla="*/ 96 h 108"/>
                <a:gd name="T28" fmla="*/ 0 w 79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8">
                  <a:moveTo>
                    <a:pt x="0" y="80"/>
                  </a:moveTo>
                  <a:cubicBezTo>
                    <a:pt x="5" y="80"/>
                    <a:pt x="5" y="80"/>
                    <a:pt x="5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0" y="64"/>
                    <a:pt x="0" y="29"/>
                  </a:cubicBezTo>
                  <a:cubicBezTo>
                    <a:pt x="0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79" y="42"/>
                    <a:pt x="79" y="78"/>
                  </a:cubicBezTo>
                  <a:cubicBezTo>
                    <a:pt x="79" y="96"/>
                    <a:pt x="67" y="108"/>
                    <a:pt x="38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:a16="http://schemas.microsoft.com/office/drawing/2014/main" id="{7724F6DC-3084-4DB1-8E76-3E1042482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9" y="2076"/>
              <a:ext cx="119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6 w 92"/>
                <a:gd name="T13" fmla="*/ 103 h 104"/>
                <a:gd name="T14" fmla="*/ 76 w 92"/>
                <a:gd name="T15" fmla="*/ 85 h 104"/>
                <a:gd name="T16" fmla="*/ 74 w 92"/>
                <a:gd name="T17" fmla="*/ 85 h 104"/>
                <a:gd name="T18" fmla="*/ 39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8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6" y="103"/>
                    <a:pt x="76" y="103"/>
                    <a:pt x="76" y="103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7" y="99"/>
                    <a:pt x="53" y="104"/>
                    <a:pt x="39" y="104"/>
                  </a:cubicBezTo>
                  <a:cubicBezTo>
                    <a:pt x="16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:a16="http://schemas.microsoft.com/office/drawing/2014/main" id="{158656D4-8511-4626-8A7B-AA90E91226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38" y="2030"/>
              <a:ext cx="74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6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6 w 57"/>
                <a:gd name="T27" fmla="*/ 35 h 138"/>
                <a:gd name="T28" fmla="*/ 17 w 57"/>
                <a:gd name="T29" fmla="*/ 0 h 138"/>
                <a:gd name="T30" fmla="*/ 32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1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:a16="http://schemas.microsoft.com/office/drawing/2014/main" id="{4E511542-D895-49FF-947B-A02E9084E0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38" y="2076"/>
              <a:ext cx="118" cy="135"/>
            </a:xfrm>
            <a:custGeom>
              <a:avLst/>
              <a:gdLst>
                <a:gd name="T0" fmla="*/ 16 w 92"/>
                <a:gd name="T1" fmla="*/ 64 h 104"/>
                <a:gd name="T2" fmla="*/ 45 w 92"/>
                <a:gd name="T3" fmla="*/ 90 h 104"/>
                <a:gd name="T4" fmla="*/ 76 w 92"/>
                <a:gd name="T5" fmla="*/ 65 h 104"/>
                <a:gd name="T6" fmla="*/ 76 w 92"/>
                <a:gd name="T7" fmla="*/ 0 h 104"/>
                <a:gd name="T8" fmla="*/ 92 w 92"/>
                <a:gd name="T9" fmla="*/ 0 h 104"/>
                <a:gd name="T10" fmla="*/ 92 w 92"/>
                <a:gd name="T11" fmla="*/ 103 h 104"/>
                <a:gd name="T12" fmla="*/ 77 w 92"/>
                <a:gd name="T13" fmla="*/ 103 h 104"/>
                <a:gd name="T14" fmla="*/ 77 w 92"/>
                <a:gd name="T15" fmla="*/ 85 h 104"/>
                <a:gd name="T16" fmla="*/ 74 w 92"/>
                <a:gd name="T17" fmla="*/ 85 h 104"/>
                <a:gd name="T18" fmla="*/ 40 w 92"/>
                <a:gd name="T19" fmla="*/ 104 h 104"/>
                <a:gd name="T20" fmla="*/ 0 w 92"/>
                <a:gd name="T21" fmla="*/ 66 h 104"/>
                <a:gd name="T22" fmla="*/ 0 w 92"/>
                <a:gd name="T23" fmla="*/ 0 h 104"/>
                <a:gd name="T24" fmla="*/ 16 w 92"/>
                <a:gd name="T25" fmla="*/ 0 h 104"/>
                <a:gd name="T26" fmla="*/ 16 w 92"/>
                <a:gd name="T27" fmla="*/ 6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16" y="64"/>
                  </a:moveTo>
                  <a:cubicBezTo>
                    <a:pt x="16" y="81"/>
                    <a:pt x="29" y="90"/>
                    <a:pt x="45" y="90"/>
                  </a:cubicBezTo>
                  <a:cubicBezTo>
                    <a:pt x="57" y="90"/>
                    <a:pt x="76" y="80"/>
                    <a:pt x="76" y="6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03"/>
                    <a:pt x="92" y="103"/>
                    <a:pt x="92" y="103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68" y="99"/>
                    <a:pt x="54" y="104"/>
                    <a:pt x="40" y="104"/>
                  </a:cubicBezTo>
                  <a:cubicBezTo>
                    <a:pt x="17" y="104"/>
                    <a:pt x="0" y="93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lnTo>
                    <a:pt x="16" y="6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:a16="http://schemas.microsoft.com/office/drawing/2014/main" id="{C083ADB5-DE65-4941-9633-F7275B2C26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86" y="2073"/>
              <a:ext cx="103" cy="140"/>
            </a:xfrm>
            <a:custGeom>
              <a:avLst/>
              <a:gdLst>
                <a:gd name="T0" fmla="*/ 0 w 80"/>
                <a:gd name="T1" fmla="*/ 80 h 108"/>
                <a:gd name="T2" fmla="*/ 6 w 80"/>
                <a:gd name="T3" fmla="*/ 80 h 108"/>
                <a:gd name="T4" fmla="*/ 39 w 80"/>
                <a:gd name="T5" fmla="*/ 95 h 108"/>
                <a:gd name="T6" fmla="*/ 64 w 80"/>
                <a:gd name="T7" fmla="*/ 79 h 108"/>
                <a:gd name="T8" fmla="*/ 1 w 80"/>
                <a:gd name="T9" fmla="*/ 29 h 108"/>
                <a:gd name="T10" fmla="*/ 41 w 80"/>
                <a:gd name="T11" fmla="*/ 0 h 108"/>
                <a:gd name="T12" fmla="*/ 74 w 80"/>
                <a:gd name="T13" fmla="*/ 9 h 108"/>
                <a:gd name="T14" fmla="*/ 74 w 80"/>
                <a:gd name="T15" fmla="*/ 25 h 108"/>
                <a:gd name="T16" fmla="*/ 70 w 80"/>
                <a:gd name="T17" fmla="*/ 25 h 108"/>
                <a:gd name="T18" fmla="*/ 41 w 80"/>
                <a:gd name="T19" fmla="*/ 13 h 108"/>
                <a:gd name="T20" fmla="*/ 16 w 80"/>
                <a:gd name="T21" fmla="*/ 27 h 108"/>
                <a:gd name="T22" fmla="*/ 80 w 80"/>
                <a:gd name="T23" fmla="*/ 78 h 108"/>
                <a:gd name="T24" fmla="*/ 39 w 80"/>
                <a:gd name="T25" fmla="*/ 108 h 108"/>
                <a:gd name="T26" fmla="*/ 0 w 80"/>
                <a:gd name="T27" fmla="*/ 96 h 108"/>
                <a:gd name="T28" fmla="*/ 0 w 80"/>
                <a:gd name="T29" fmla="*/ 8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8">
                  <a:moveTo>
                    <a:pt x="0" y="80"/>
                  </a:moveTo>
                  <a:cubicBezTo>
                    <a:pt x="6" y="80"/>
                    <a:pt x="6" y="80"/>
                    <a:pt x="6" y="80"/>
                  </a:cubicBezTo>
                  <a:cubicBezTo>
                    <a:pt x="11" y="88"/>
                    <a:pt x="26" y="95"/>
                    <a:pt x="39" y="95"/>
                  </a:cubicBezTo>
                  <a:cubicBezTo>
                    <a:pt x="55" y="95"/>
                    <a:pt x="64" y="90"/>
                    <a:pt x="64" y="79"/>
                  </a:cubicBezTo>
                  <a:cubicBezTo>
                    <a:pt x="64" y="58"/>
                    <a:pt x="1" y="64"/>
                    <a:pt x="1" y="29"/>
                  </a:cubicBezTo>
                  <a:cubicBezTo>
                    <a:pt x="1" y="12"/>
                    <a:pt x="14" y="0"/>
                    <a:pt x="41" y="0"/>
                  </a:cubicBezTo>
                  <a:cubicBezTo>
                    <a:pt x="57" y="0"/>
                    <a:pt x="68" y="5"/>
                    <a:pt x="74" y="9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66" y="21"/>
                    <a:pt x="56" y="13"/>
                    <a:pt x="41" y="13"/>
                  </a:cubicBezTo>
                  <a:cubicBezTo>
                    <a:pt x="24" y="13"/>
                    <a:pt x="16" y="19"/>
                    <a:pt x="16" y="27"/>
                  </a:cubicBezTo>
                  <a:cubicBezTo>
                    <a:pt x="16" y="52"/>
                    <a:pt x="80" y="42"/>
                    <a:pt x="80" y="78"/>
                  </a:cubicBezTo>
                  <a:cubicBezTo>
                    <a:pt x="80" y="96"/>
                    <a:pt x="68" y="108"/>
                    <a:pt x="39" y="108"/>
                  </a:cubicBezTo>
                  <a:cubicBezTo>
                    <a:pt x="23" y="108"/>
                    <a:pt x="10" y="102"/>
                    <a:pt x="0" y="96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:a16="http://schemas.microsoft.com/office/drawing/2014/main" id="{18351E18-7F70-4E09-BBE1-E44B45F762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" y="2017"/>
              <a:ext cx="938" cy="292"/>
            </a:xfrm>
            <a:custGeom>
              <a:avLst/>
              <a:gdLst>
                <a:gd name="T0" fmla="*/ 638 w 728"/>
                <a:gd name="T1" fmla="*/ 215 h 225"/>
                <a:gd name="T2" fmla="*/ 636 w 728"/>
                <a:gd name="T3" fmla="*/ 192 h 225"/>
                <a:gd name="T4" fmla="*/ 148 w 728"/>
                <a:gd name="T5" fmla="*/ 120 h 225"/>
                <a:gd name="T6" fmla="*/ 213 w 728"/>
                <a:gd name="T7" fmla="*/ 119 h 225"/>
                <a:gd name="T8" fmla="*/ 202 w 728"/>
                <a:gd name="T9" fmla="*/ 105 h 225"/>
                <a:gd name="T10" fmla="*/ 180 w 728"/>
                <a:gd name="T11" fmla="*/ 127 h 225"/>
                <a:gd name="T12" fmla="*/ 194 w 728"/>
                <a:gd name="T13" fmla="*/ 138 h 225"/>
                <a:gd name="T14" fmla="*/ 648 w 728"/>
                <a:gd name="T15" fmla="*/ 204 h 225"/>
                <a:gd name="T16" fmla="*/ 584 w 728"/>
                <a:gd name="T17" fmla="*/ 200 h 225"/>
                <a:gd name="T18" fmla="*/ 580 w 728"/>
                <a:gd name="T19" fmla="*/ 215 h 225"/>
                <a:gd name="T20" fmla="*/ 13 w 728"/>
                <a:gd name="T21" fmla="*/ 185 h 225"/>
                <a:gd name="T22" fmla="*/ 41 w 728"/>
                <a:gd name="T23" fmla="*/ 108 h 225"/>
                <a:gd name="T24" fmla="*/ 32 w 728"/>
                <a:gd name="T25" fmla="*/ 127 h 225"/>
                <a:gd name="T26" fmla="*/ 56 w 728"/>
                <a:gd name="T27" fmla="*/ 73 h 225"/>
                <a:gd name="T28" fmla="*/ 27 w 728"/>
                <a:gd name="T29" fmla="*/ 91 h 225"/>
                <a:gd name="T30" fmla="*/ 674 w 728"/>
                <a:gd name="T31" fmla="*/ 0 h 225"/>
                <a:gd name="T32" fmla="*/ 675 w 728"/>
                <a:gd name="T33" fmla="*/ 150 h 225"/>
                <a:gd name="T34" fmla="*/ 724 w 728"/>
                <a:gd name="T35" fmla="*/ 200 h 225"/>
                <a:gd name="T36" fmla="*/ 728 w 728"/>
                <a:gd name="T37" fmla="*/ 201 h 225"/>
                <a:gd name="T38" fmla="*/ 724 w 728"/>
                <a:gd name="T39" fmla="*/ 208 h 225"/>
                <a:gd name="T40" fmla="*/ 183 w 728"/>
                <a:gd name="T41" fmla="*/ 85 h 225"/>
                <a:gd name="T42" fmla="*/ 169 w 728"/>
                <a:gd name="T43" fmla="*/ 75 h 225"/>
                <a:gd name="T44" fmla="*/ 677 w 728"/>
                <a:gd name="T45" fmla="*/ 215 h 225"/>
                <a:gd name="T46" fmla="*/ 501 w 728"/>
                <a:gd name="T47" fmla="*/ 196 h 225"/>
                <a:gd name="T48" fmla="*/ 509 w 728"/>
                <a:gd name="T49" fmla="*/ 195 h 225"/>
                <a:gd name="T50" fmla="*/ 513 w 728"/>
                <a:gd name="T51" fmla="*/ 215 h 225"/>
                <a:gd name="T52" fmla="*/ 606 w 728"/>
                <a:gd name="T53" fmla="*/ 147 h 225"/>
                <a:gd name="T54" fmla="*/ 540 w 728"/>
                <a:gd name="T55" fmla="*/ 23 h 225"/>
                <a:gd name="T56" fmla="*/ 469 w 728"/>
                <a:gd name="T57" fmla="*/ 225 h 225"/>
                <a:gd name="T58" fmla="*/ 473 w 728"/>
                <a:gd name="T59" fmla="*/ 208 h 225"/>
                <a:gd name="T60" fmla="*/ 513 w 728"/>
                <a:gd name="T61" fmla="*/ 181 h 225"/>
                <a:gd name="T62" fmla="*/ 564 w 728"/>
                <a:gd name="T63" fmla="*/ 210 h 225"/>
                <a:gd name="T64" fmla="*/ 548 w 728"/>
                <a:gd name="T65" fmla="*/ 201 h 225"/>
                <a:gd name="T66" fmla="*/ 523 w 728"/>
                <a:gd name="T67" fmla="*/ 198 h 225"/>
                <a:gd name="T68" fmla="*/ 526 w 728"/>
                <a:gd name="T69" fmla="*/ 198 h 225"/>
                <a:gd name="T70" fmla="*/ 363 w 728"/>
                <a:gd name="T71" fmla="*/ 197 h 225"/>
                <a:gd name="T72" fmla="*/ 456 w 728"/>
                <a:gd name="T73" fmla="*/ 192 h 225"/>
                <a:gd name="T74" fmla="*/ 462 w 728"/>
                <a:gd name="T75" fmla="*/ 192 h 225"/>
                <a:gd name="T76" fmla="*/ 101 w 728"/>
                <a:gd name="T77" fmla="*/ 131 h 225"/>
                <a:gd name="T78" fmla="*/ 209 w 728"/>
                <a:gd name="T79" fmla="*/ 222 h 225"/>
                <a:gd name="T80" fmla="*/ 227 w 728"/>
                <a:gd name="T81" fmla="*/ 46 h 225"/>
                <a:gd name="T82" fmla="*/ 217 w 728"/>
                <a:gd name="T83" fmla="*/ 60 h 225"/>
                <a:gd name="T84" fmla="*/ 204 w 728"/>
                <a:gd name="T85" fmla="*/ 33 h 225"/>
                <a:gd name="T86" fmla="*/ 158 w 728"/>
                <a:gd name="T87" fmla="*/ 77 h 225"/>
                <a:gd name="T88" fmla="*/ 136 w 728"/>
                <a:gd name="T89" fmla="*/ 71 h 225"/>
                <a:gd name="T90" fmla="*/ 134 w 728"/>
                <a:gd name="T91" fmla="*/ 167 h 225"/>
                <a:gd name="T92" fmla="*/ 146 w 728"/>
                <a:gd name="T93" fmla="*/ 152 h 225"/>
                <a:gd name="T94" fmla="*/ 107 w 728"/>
                <a:gd name="T95" fmla="*/ 85 h 225"/>
                <a:gd name="T96" fmla="*/ 152 w 728"/>
                <a:gd name="T97" fmla="*/ 130 h 225"/>
                <a:gd name="T98" fmla="*/ 158 w 728"/>
                <a:gd name="T99" fmla="*/ 178 h 225"/>
                <a:gd name="T100" fmla="*/ 242 w 728"/>
                <a:gd name="T101" fmla="*/ 156 h 225"/>
                <a:gd name="T102" fmla="*/ 229 w 728"/>
                <a:gd name="T103" fmla="*/ 141 h 225"/>
                <a:gd name="T104" fmla="*/ 255 w 728"/>
                <a:gd name="T105" fmla="*/ 125 h 225"/>
                <a:gd name="T106" fmla="*/ 209 w 728"/>
                <a:gd name="T107" fmla="*/ 84 h 225"/>
                <a:gd name="T108" fmla="*/ 376 w 728"/>
                <a:gd name="T109" fmla="*/ 66 h 225"/>
                <a:gd name="T110" fmla="*/ 399 w 728"/>
                <a:gd name="T111" fmla="*/ 192 h 225"/>
                <a:gd name="T112" fmla="*/ 397 w 728"/>
                <a:gd name="T113" fmla="*/ 195 h 225"/>
                <a:gd name="T114" fmla="*/ 426 w 728"/>
                <a:gd name="T115" fmla="*/ 203 h 225"/>
                <a:gd name="T116" fmla="*/ 430 w 728"/>
                <a:gd name="T117" fmla="*/ 204 h 225"/>
                <a:gd name="T118" fmla="*/ 624 w 728"/>
                <a:gd name="T119" fmla="*/ 197 h 225"/>
                <a:gd name="T120" fmla="*/ 608 w 728"/>
                <a:gd name="T121" fmla="*/ 210 h 225"/>
                <a:gd name="T122" fmla="*/ 411 w 728"/>
                <a:gd name="T123" fmla="*/ 192 h 225"/>
                <a:gd name="T124" fmla="*/ 418 w 728"/>
                <a:gd name="T125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225">
                  <a:moveTo>
                    <a:pt x="636" y="184"/>
                  </a:moveTo>
                  <a:cubicBezTo>
                    <a:pt x="632" y="184"/>
                    <a:pt x="632" y="184"/>
                    <a:pt x="632" y="184"/>
                  </a:cubicBezTo>
                  <a:cubicBezTo>
                    <a:pt x="632" y="192"/>
                    <a:pt x="632" y="192"/>
                    <a:pt x="632" y="192"/>
                  </a:cubicBezTo>
                  <a:cubicBezTo>
                    <a:pt x="628" y="192"/>
                    <a:pt x="628" y="192"/>
                    <a:pt x="628" y="192"/>
                  </a:cubicBezTo>
                  <a:cubicBezTo>
                    <a:pt x="628" y="195"/>
                    <a:pt x="628" y="195"/>
                    <a:pt x="628" y="195"/>
                  </a:cubicBezTo>
                  <a:cubicBezTo>
                    <a:pt x="632" y="195"/>
                    <a:pt x="632" y="195"/>
                    <a:pt x="632" y="195"/>
                  </a:cubicBezTo>
                  <a:cubicBezTo>
                    <a:pt x="632" y="208"/>
                    <a:pt x="632" y="208"/>
                    <a:pt x="632" y="208"/>
                  </a:cubicBezTo>
                  <a:cubicBezTo>
                    <a:pt x="632" y="214"/>
                    <a:pt x="634" y="215"/>
                    <a:pt x="638" y="215"/>
                  </a:cubicBezTo>
                  <a:cubicBezTo>
                    <a:pt x="641" y="215"/>
                    <a:pt x="641" y="215"/>
                    <a:pt x="641" y="215"/>
                  </a:cubicBezTo>
                  <a:cubicBezTo>
                    <a:pt x="641" y="212"/>
                    <a:pt x="641" y="212"/>
                    <a:pt x="641" y="212"/>
                  </a:cubicBezTo>
                  <a:cubicBezTo>
                    <a:pt x="639" y="212"/>
                    <a:pt x="639" y="212"/>
                    <a:pt x="639" y="212"/>
                  </a:cubicBezTo>
                  <a:cubicBezTo>
                    <a:pt x="637" y="212"/>
                    <a:pt x="636" y="212"/>
                    <a:pt x="636" y="209"/>
                  </a:cubicBezTo>
                  <a:cubicBezTo>
                    <a:pt x="636" y="195"/>
                    <a:pt x="636" y="195"/>
                    <a:pt x="636" y="195"/>
                  </a:cubicBezTo>
                  <a:cubicBezTo>
                    <a:pt x="641" y="195"/>
                    <a:pt x="641" y="195"/>
                    <a:pt x="641" y="195"/>
                  </a:cubicBezTo>
                  <a:cubicBezTo>
                    <a:pt x="641" y="192"/>
                    <a:pt x="641" y="192"/>
                    <a:pt x="641" y="192"/>
                  </a:cubicBezTo>
                  <a:cubicBezTo>
                    <a:pt x="636" y="192"/>
                    <a:pt x="636" y="192"/>
                    <a:pt x="636" y="192"/>
                  </a:cubicBezTo>
                  <a:lnTo>
                    <a:pt x="636" y="184"/>
                  </a:lnTo>
                  <a:close/>
                  <a:moveTo>
                    <a:pt x="150" y="94"/>
                  </a:moveTo>
                  <a:cubicBezTo>
                    <a:pt x="149" y="93"/>
                    <a:pt x="147" y="93"/>
                    <a:pt x="146" y="94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5"/>
                    <a:pt x="135" y="106"/>
                    <a:pt x="135" y="107"/>
                  </a:cubicBezTo>
                  <a:cubicBezTo>
                    <a:pt x="135" y="107"/>
                    <a:pt x="136" y="108"/>
                    <a:pt x="136" y="108"/>
                  </a:cubicBezTo>
                  <a:cubicBezTo>
                    <a:pt x="146" y="119"/>
                    <a:pt x="146" y="119"/>
                    <a:pt x="146" y="119"/>
                  </a:cubicBezTo>
                  <a:cubicBezTo>
                    <a:pt x="147" y="119"/>
                    <a:pt x="148" y="120"/>
                    <a:pt x="148" y="120"/>
                  </a:cubicBezTo>
                  <a:cubicBezTo>
                    <a:pt x="149" y="120"/>
                    <a:pt x="150" y="119"/>
                    <a:pt x="150" y="119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1" y="108"/>
                    <a:pt x="161" y="107"/>
                    <a:pt x="161" y="107"/>
                  </a:cubicBezTo>
                  <a:cubicBezTo>
                    <a:pt x="161" y="106"/>
                    <a:pt x="161" y="105"/>
                    <a:pt x="161" y="105"/>
                  </a:cubicBezTo>
                  <a:lnTo>
                    <a:pt x="150" y="94"/>
                  </a:lnTo>
                  <a:close/>
                  <a:moveTo>
                    <a:pt x="202" y="107"/>
                  </a:moveTo>
                  <a:cubicBezTo>
                    <a:pt x="202" y="107"/>
                    <a:pt x="202" y="108"/>
                    <a:pt x="202" y="108"/>
                  </a:cubicBezTo>
                  <a:cubicBezTo>
                    <a:pt x="213" y="119"/>
                    <a:pt x="213" y="119"/>
                    <a:pt x="213" y="119"/>
                  </a:cubicBezTo>
                  <a:cubicBezTo>
                    <a:pt x="213" y="119"/>
                    <a:pt x="214" y="120"/>
                    <a:pt x="215" y="120"/>
                  </a:cubicBezTo>
                  <a:cubicBezTo>
                    <a:pt x="215" y="120"/>
                    <a:pt x="216" y="119"/>
                    <a:pt x="217" y="119"/>
                  </a:cubicBezTo>
                  <a:cubicBezTo>
                    <a:pt x="227" y="108"/>
                    <a:pt x="227" y="108"/>
                    <a:pt x="227" y="108"/>
                  </a:cubicBezTo>
                  <a:cubicBezTo>
                    <a:pt x="228" y="107"/>
                    <a:pt x="228" y="106"/>
                    <a:pt x="227" y="105"/>
                  </a:cubicBezTo>
                  <a:cubicBezTo>
                    <a:pt x="217" y="94"/>
                    <a:pt x="217" y="94"/>
                    <a:pt x="217" y="94"/>
                  </a:cubicBezTo>
                  <a:cubicBezTo>
                    <a:pt x="216" y="94"/>
                    <a:pt x="215" y="93"/>
                    <a:pt x="215" y="93"/>
                  </a:cubicBezTo>
                  <a:cubicBezTo>
                    <a:pt x="214" y="93"/>
                    <a:pt x="213" y="94"/>
                    <a:pt x="213" y="94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2" y="105"/>
                    <a:pt x="202" y="106"/>
                    <a:pt x="202" y="107"/>
                  </a:cubicBezTo>
                  <a:close/>
                  <a:moveTo>
                    <a:pt x="700" y="215"/>
                  </a:moveTo>
                  <a:cubicBezTo>
                    <a:pt x="704" y="215"/>
                    <a:pt x="704" y="215"/>
                    <a:pt x="704" y="215"/>
                  </a:cubicBezTo>
                  <a:cubicBezTo>
                    <a:pt x="704" y="192"/>
                    <a:pt x="704" y="192"/>
                    <a:pt x="704" y="192"/>
                  </a:cubicBezTo>
                  <a:cubicBezTo>
                    <a:pt x="700" y="192"/>
                    <a:pt x="700" y="192"/>
                    <a:pt x="700" y="192"/>
                  </a:cubicBezTo>
                  <a:lnTo>
                    <a:pt x="700" y="215"/>
                  </a:lnTo>
                  <a:close/>
                  <a:moveTo>
                    <a:pt x="183" y="127"/>
                  </a:moveTo>
                  <a:cubicBezTo>
                    <a:pt x="182" y="126"/>
                    <a:pt x="181" y="126"/>
                    <a:pt x="180" y="127"/>
                  </a:cubicBezTo>
                  <a:cubicBezTo>
                    <a:pt x="169" y="138"/>
                    <a:pt x="169" y="138"/>
                    <a:pt x="169" y="138"/>
                  </a:cubicBezTo>
                  <a:cubicBezTo>
                    <a:pt x="169" y="138"/>
                    <a:pt x="168" y="139"/>
                    <a:pt x="168" y="140"/>
                  </a:cubicBezTo>
                  <a:cubicBezTo>
                    <a:pt x="168" y="140"/>
                    <a:pt x="169" y="141"/>
                    <a:pt x="169" y="141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0" y="152"/>
                    <a:pt x="181" y="153"/>
                    <a:pt x="182" y="153"/>
                  </a:cubicBezTo>
                  <a:cubicBezTo>
                    <a:pt x="182" y="153"/>
                    <a:pt x="183" y="152"/>
                    <a:pt x="183" y="152"/>
                  </a:cubicBezTo>
                  <a:cubicBezTo>
                    <a:pt x="194" y="141"/>
                    <a:pt x="194" y="141"/>
                    <a:pt x="194" y="141"/>
                  </a:cubicBezTo>
                  <a:cubicBezTo>
                    <a:pt x="195" y="140"/>
                    <a:pt x="195" y="139"/>
                    <a:pt x="194" y="138"/>
                  </a:cubicBezTo>
                  <a:lnTo>
                    <a:pt x="183" y="127"/>
                  </a:lnTo>
                  <a:close/>
                  <a:moveTo>
                    <a:pt x="656" y="191"/>
                  </a:moveTo>
                  <a:cubicBezTo>
                    <a:pt x="649" y="191"/>
                    <a:pt x="644" y="196"/>
                    <a:pt x="644" y="204"/>
                  </a:cubicBezTo>
                  <a:cubicBezTo>
                    <a:pt x="644" y="211"/>
                    <a:pt x="649" y="216"/>
                    <a:pt x="656" y="216"/>
                  </a:cubicBezTo>
                  <a:cubicBezTo>
                    <a:pt x="663" y="216"/>
                    <a:pt x="668" y="211"/>
                    <a:pt x="668" y="204"/>
                  </a:cubicBezTo>
                  <a:cubicBezTo>
                    <a:pt x="668" y="196"/>
                    <a:pt x="663" y="191"/>
                    <a:pt x="656" y="191"/>
                  </a:cubicBezTo>
                  <a:close/>
                  <a:moveTo>
                    <a:pt x="656" y="213"/>
                  </a:moveTo>
                  <a:cubicBezTo>
                    <a:pt x="651" y="213"/>
                    <a:pt x="648" y="209"/>
                    <a:pt x="648" y="204"/>
                  </a:cubicBezTo>
                  <a:cubicBezTo>
                    <a:pt x="648" y="198"/>
                    <a:pt x="651" y="194"/>
                    <a:pt x="656" y="194"/>
                  </a:cubicBezTo>
                  <a:cubicBezTo>
                    <a:pt x="660" y="194"/>
                    <a:pt x="664" y="198"/>
                    <a:pt x="664" y="204"/>
                  </a:cubicBezTo>
                  <a:cubicBezTo>
                    <a:pt x="664" y="209"/>
                    <a:pt x="660" y="213"/>
                    <a:pt x="656" y="213"/>
                  </a:cubicBezTo>
                  <a:close/>
                  <a:moveTo>
                    <a:pt x="580" y="215"/>
                  </a:moveTo>
                  <a:cubicBezTo>
                    <a:pt x="603" y="215"/>
                    <a:pt x="603" y="215"/>
                    <a:pt x="603" y="215"/>
                  </a:cubicBezTo>
                  <a:cubicBezTo>
                    <a:pt x="603" y="212"/>
                    <a:pt x="603" y="212"/>
                    <a:pt x="603" y="212"/>
                  </a:cubicBezTo>
                  <a:cubicBezTo>
                    <a:pt x="584" y="212"/>
                    <a:pt x="584" y="212"/>
                    <a:pt x="584" y="212"/>
                  </a:cubicBezTo>
                  <a:cubicBezTo>
                    <a:pt x="584" y="200"/>
                    <a:pt x="584" y="200"/>
                    <a:pt x="584" y="200"/>
                  </a:cubicBezTo>
                  <a:cubicBezTo>
                    <a:pt x="601" y="200"/>
                    <a:pt x="601" y="200"/>
                    <a:pt x="601" y="200"/>
                  </a:cubicBezTo>
                  <a:cubicBezTo>
                    <a:pt x="601" y="197"/>
                    <a:pt x="601" y="197"/>
                    <a:pt x="601" y="197"/>
                  </a:cubicBezTo>
                  <a:cubicBezTo>
                    <a:pt x="584" y="197"/>
                    <a:pt x="584" y="197"/>
                    <a:pt x="584" y="197"/>
                  </a:cubicBezTo>
                  <a:cubicBezTo>
                    <a:pt x="584" y="185"/>
                    <a:pt x="584" y="185"/>
                    <a:pt x="584" y="185"/>
                  </a:cubicBezTo>
                  <a:cubicBezTo>
                    <a:pt x="603" y="185"/>
                    <a:pt x="603" y="185"/>
                    <a:pt x="603" y="185"/>
                  </a:cubicBezTo>
                  <a:cubicBezTo>
                    <a:pt x="603" y="182"/>
                    <a:pt x="603" y="182"/>
                    <a:pt x="603" y="182"/>
                  </a:cubicBezTo>
                  <a:cubicBezTo>
                    <a:pt x="580" y="182"/>
                    <a:pt x="580" y="182"/>
                    <a:pt x="580" y="182"/>
                  </a:cubicBezTo>
                  <a:lnTo>
                    <a:pt x="580" y="215"/>
                  </a:lnTo>
                  <a:close/>
                  <a:moveTo>
                    <a:pt x="41" y="108"/>
                  </a:moveTo>
                  <a:cubicBezTo>
                    <a:pt x="37" y="105"/>
                    <a:pt x="31" y="105"/>
                    <a:pt x="27" y="108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" y="135"/>
                    <a:pt x="0" y="137"/>
                    <a:pt x="0" y="140"/>
                  </a:cubicBezTo>
                  <a:cubicBezTo>
                    <a:pt x="0" y="142"/>
                    <a:pt x="1" y="145"/>
                    <a:pt x="3" y="147"/>
                  </a:cubicBezTo>
                  <a:cubicBezTo>
                    <a:pt x="20" y="164"/>
                    <a:pt x="20" y="164"/>
                    <a:pt x="20" y="164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0" y="175"/>
                    <a:pt x="10" y="181"/>
                    <a:pt x="13" y="185"/>
                  </a:cubicBezTo>
                  <a:cubicBezTo>
                    <a:pt x="15" y="187"/>
                    <a:pt x="18" y="188"/>
                    <a:pt x="21" y="188"/>
                  </a:cubicBezTo>
                  <a:cubicBezTo>
                    <a:pt x="23" y="188"/>
                    <a:pt x="26" y="187"/>
                    <a:pt x="28" y="185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41" y="171"/>
                    <a:pt x="41" y="171"/>
                    <a:pt x="41" y="171"/>
                  </a:cubicBezTo>
                  <a:cubicBezTo>
                    <a:pt x="66" y="147"/>
                    <a:pt x="66" y="147"/>
                    <a:pt x="66" y="147"/>
                  </a:cubicBezTo>
                  <a:cubicBezTo>
                    <a:pt x="67" y="145"/>
                    <a:pt x="68" y="142"/>
                    <a:pt x="68" y="140"/>
                  </a:cubicBezTo>
                  <a:cubicBezTo>
                    <a:pt x="68" y="137"/>
                    <a:pt x="67" y="135"/>
                    <a:pt x="66" y="133"/>
                  </a:cubicBezTo>
                  <a:lnTo>
                    <a:pt x="41" y="108"/>
                  </a:lnTo>
                  <a:close/>
                  <a:moveTo>
                    <a:pt x="47" y="141"/>
                  </a:moveTo>
                  <a:cubicBezTo>
                    <a:pt x="36" y="152"/>
                    <a:pt x="36" y="152"/>
                    <a:pt x="36" y="152"/>
                  </a:cubicBezTo>
                  <a:cubicBezTo>
                    <a:pt x="36" y="152"/>
                    <a:pt x="35" y="152"/>
                    <a:pt x="34" y="152"/>
                  </a:cubicBezTo>
                  <a:cubicBezTo>
                    <a:pt x="34" y="152"/>
                    <a:pt x="33" y="152"/>
                    <a:pt x="32" y="152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1" y="141"/>
                    <a:pt x="21" y="140"/>
                    <a:pt x="21" y="139"/>
                  </a:cubicBezTo>
                  <a:cubicBezTo>
                    <a:pt x="21" y="139"/>
                    <a:pt x="21" y="138"/>
                    <a:pt x="22" y="13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3" y="126"/>
                    <a:pt x="35" y="126"/>
                    <a:pt x="36" y="127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8" y="139"/>
                    <a:pt x="48" y="140"/>
                    <a:pt x="47" y="141"/>
                  </a:cubicBezTo>
                  <a:close/>
                  <a:moveTo>
                    <a:pt x="27" y="91"/>
                  </a:moveTo>
                  <a:cubicBezTo>
                    <a:pt x="29" y="93"/>
                    <a:pt x="32" y="94"/>
                    <a:pt x="34" y="94"/>
                  </a:cubicBezTo>
                  <a:cubicBezTo>
                    <a:pt x="37" y="94"/>
                    <a:pt x="39" y="93"/>
                    <a:pt x="41" y="91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5" y="78"/>
                    <a:pt x="56" y="75"/>
                    <a:pt x="56" y="73"/>
                  </a:cubicBezTo>
                  <a:cubicBezTo>
                    <a:pt x="56" y="70"/>
                    <a:pt x="55" y="68"/>
                    <a:pt x="53" y="66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9" y="52"/>
                    <a:pt x="37" y="51"/>
                    <a:pt x="34" y="51"/>
                  </a:cubicBezTo>
                  <a:cubicBezTo>
                    <a:pt x="32" y="51"/>
                    <a:pt x="29" y="52"/>
                    <a:pt x="27" y="54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4" y="68"/>
                    <a:pt x="13" y="70"/>
                    <a:pt x="13" y="73"/>
                  </a:cubicBezTo>
                  <a:cubicBezTo>
                    <a:pt x="13" y="75"/>
                    <a:pt x="14" y="78"/>
                    <a:pt x="16" y="80"/>
                  </a:cubicBezTo>
                  <a:lnTo>
                    <a:pt x="27" y="91"/>
                  </a:lnTo>
                  <a:close/>
                  <a:moveTo>
                    <a:pt x="728" y="111"/>
                  </a:moveTo>
                  <a:cubicBezTo>
                    <a:pt x="728" y="79"/>
                    <a:pt x="698" y="73"/>
                    <a:pt x="674" y="67"/>
                  </a:cubicBezTo>
                  <a:cubicBezTo>
                    <a:pt x="654" y="62"/>
                    <a:pt x="635" y="58"/>
                    <a:pt x="635" y="41"/>
                  </a:cubicBezTo>
                  <a:cubicBezTo>
                    <a:pt x="635" y="27"/>
                    <a:pt x="648" y="15"/>
                    <a:pt x="670" y="15"/>
                  </a:cubicBezTo>
                  <a:cubicBezTo>
                    <a:pt x="691" y="15"/>
                    <a:pt x="708" y="23"/>
                    <a:pt x="718" y="32"/>
                  </a:cubicBezTo>
                  <a:cubicBezTo>
                    <a:pt x="723" y="32"/>
                    <a:pt x="723" y="32"/>
                    <a:pt x="723" y="32"/>
                  </a:cubicBezTo>
                  <a:cubicBezTo>
                    <a:pt x="723" y="16"/>
                    <a:pt x="723" y="16"/>
                    <a:pt x="723" y="16"/>
                  </a:cubicBezTo>
                  <a:cubicBezTo>
                    <a:pt x="714" y="8"/>
                    <a:pt x="695" y="0"/>
                    <a:pt x="674" y="0"/>
                  </a:cubicBezTo>
                  <a:cubicBezTo>
                    <a:pt x="638" y="0"/>
                    <a:pt x="617" y="18"/>
                    <a:pt x="617" y="41"/>
                  </a:cubicBezTo>
                  <a:cubicBezTo>
                    <a:pt x="617" y="72"/>
                    <a:pt x="647" y="77"/>
                    <a:pt x="672" y="83"/>
                  </a:cubicBezTo>
                  <a:cubicBezTo>
                    <a:pt x="691" y="88"/>
                    <a:pt x="711" y="93"/>
                    <a:pt x="711" y="111"/>
                  </a:cubicBezTo>
                  <a:cubicBezTo>
                    <a:pt x="711" y="121"/>
                    <a:pt x="699" y="134"/>
                    <a:pt x="675" y="134"/>
                  </a:cubicBezTo>
                  <a:cubicBezTo>
                    <a:pt x="657" y="134"/>
                    <a:pt x="633" y="124"/>
                    <a:pt x="620" y="110"/>
                  </a:cubicBezTo>
                  <a:cubicBezTo>
                    <a:pt x="615" y="110"/>
                    <a:pt x="615" y="110"/>
                    <a:pt x="615" y="110"/>
                  </a:cubicBezTo>
                  <a:cubicBezTo>
                    <a:pt x="615" y="130"/>
                    <a:pt x="615" y="130"/>
                    <a:pt x="615" y="130"/>
                  </a:cubicBezTo>
                  <a:cubicBezTo>
                    <a:pt x="633" y="144"/>
                    <a:pt x="652" y="150"/>
                    <a:pt x="675" y="150"/>
                  </a:cubicBezTo>
                  <a:cubicBezTo>
                    <a:pt x="709" y="150"/>
                    <a:pt x="728" y="132"/>
                    <a:pt x="728" y="111"/>
                  </a:cubicBezTo>
                  <a:close/>
                  <a:moveTo>
                    <a:pt x="718" y="191"/>
                  </a:moveTo>
                  <a:cubicBezTo>
                    <a:pt x="714" y="191"/>
                    <a:pt x="712" y="193"/>
                    <a:pt x="710" y="194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0" y="198"/>
                    <a:pt x="710" y="198"/>
                    <a:pt x="710" y="198"/>
                  </a:cubicBezTo>
                  <a:cubicBezTo>
                    <a:pt x="713" y="196"/>
                    <a:pt x="715" y="195"/>
                    <a:pt x="718" y="195"/>
                  </a:cubicBezTo>
                  <a:cubicBezTo>
                    <a:pt x="721" y="195"/>
                    <a:pt x="723" y="197"/>
                    <a:pt x="724" y="199"/>
                  </a:cubicBezTo>
                  <a:cubicBezTo>
                    <a:pt x="724" y="200"/>
                    <a:pt x="724" y="200"/>
                    <a:pt x="724" y="200"/>
                  </a:cubicBezTo>
                  <a:cubicBezTo>
                    <a:pt x="722" y="200"/>
                    <a:pt x="719" y="201"/>
                    <a:pt x="717" y="201"/>
                  </a:cubicBezTo>
                  <a:cubicBezTo>
                    <a:pt x="712" y="202"/>
                    <a:pt x="708" y="204"/>
                    <a:pt x="708" y="209"/>
                  </a:cubicBezTo>
                  <a:cubicBezTo>
                    <a:pt x="708" y="213"/>
                    <a:pt x="711" y="216"/>
                    <a:pt x="716" y="216"/>
                  </a:cubicBezTo>
                  <a:cubicBezTo>
                    <a:pt x="719" y="216"/>
                    <a:pt x="722" y="215"/>
                    <a:pt x="724" y="212"/>
                  </a:cubicBezTo>
                  <a:cubicBezTo>
                    <a:pt x="724" y="212"/>
                    <a:pt x="724" y="212"/>
                    <a:pt x="724" y="212"/>
                  </a:cubicBezTo>
                  <a:cubicBezTo>
                    <a:pt x="724" y="215"/>
                    <a:pt x="724" y="215"/>
                    <a:pt x="724" y="215"/>
                  </a:cubicBezTo>
                  <a:cubicBezTo>
                    <a:pt x="728" y="215"/>
                    <a:pt x="728" y="215"/>
                    <a:pt x="728" y="215"/>
                  </a:cubicBezTo>
                  <a:cubicBezTo>
                    <a:pt x="728" y="210"/>
                    <a:pt x="728" y="206"/>
                    <a:pt x="728" y="201"/>
                  </a:cubicBezTo>
                  <a:cubicBezTo>
                    <a:pt x="728" y="195"/>
                    <a:pt x="724" y="191"/>
                    <a:pt x="718" y="191"/>
                  </a:cubicBezTo>
                  <a:close/>
                  <a:moveTo>
                    <a:pt x="724" y="208"/>
                  </a:moveTo>
                  <a:cubicBezTo>
                    <a:pt x="724" y="208"/>
                    <a:pt x="724" y="208"/>
                    <a:pt x="724" y="208"/>
                  </a:cubicBezTo>
                  <a:cubicBezTo>
                    <a:pt x="724" y="211"/>
                    <a:pt x="720" y="213"/>
                    <a:pt x="718" y="213"/>
                  </a:cubicBezTo>
                  <a:cubicBezTo>
                    <a:pt x="714" y="213"/>
                    <a:pt x="712" y="211"/>
                    <a:pt x="712" y="209"/>
                  </a:cubicBezTo>
                  <a:cubicBezTo>
                    <a:pt x="712" y="206"/>
                    <a:pt x="714" y="205"/>
                    <a:pt x="718" y="204"/>
                  </a:cubicBezTo>
                  <a:cubicBezTo>
                    <a:pt x="720" y="204"/>
                    <a:pt x="722" y="203"/>
                    <a:pt x="724" y="203"/>
                  </a:cubicBezTo>
                  <a:lnTo>
                    <a:pt x="724" y="208"/>
                  </a:lnTo>
                  <a:close/>
                  <a:moveTo>
                    <a:pt x="700" y="186"/>
                  </a:moveTo>
                  <a:cubicBezTo>
                    <a:pt x="704" y="186"/>
                    <a:pt x="704" y="186"/>
                    <a:pt x="704" y="186"/>
                  </a:cubicBezTo>
                  <a:cubicBezTo>
                    <a:pt x="704" y="181"/>
                    <a:pt x="704" y="181"/>
                    <a:pt x="704" y="181"/>
                  </a:cubicBezTo>
                  <a:cubicBezTo>
                    <a:pt x="700" y="181"/>
                    <a:pt x="700" y="181"/>
                    <a:pt x="700" y="181"/>
                  </a:cubicBezTo>
                  <a:lnTo>
                    <a:pt x="700" y="186"/>
                  </a:lnTo>
                  <a:close/>
                  <a:moveTo>
                    <a:pt x="180" y="85"/>
                  </a:moveTo>
                  <a:cubicBezTo>
                    <a:pt x="180" y="86"/>
                    <a:pt x="181" y="86"/>
                    <a:pt x="182" y="86"/>
                  </a:cubicBezTo>
                  <a:cubicBezTo>
                    <a:pt x="182" y="86"/>
                    <a:pt x="183" y="86"/>
                    <a:pt x="183" y="85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5" y="74"/>
                    <a:pt x="195" y="72"/>
                    <a:pt x="194" y="7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0"/>
                    <a:pt x="182" y="60"/>
                    <a:pt x="182" y="60"/>
                  </a:cubicBezTo>
                  <a:cubicBezTo>
                    <a:pt x="181" y="60"/>
                    <a:pt x="180" y="60"/>
                    <a:pt x="180" y="61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69" y="72"/>
                    <a:pt x="168" y="72"/>
                    <a:pt x="168" y="73"/>
                  </a:cubicBezTo>
                  <a:cubicBezTo>
                    <a:pt x="168" y="74"/>
                    <a:pt x="169" y="75"/>
                    <a:pt x="169" y="75"/>
                  </a:cubicBezTo>
                  <a:lnTo>
                    <a:pt x="180" y="85"/>
                  </a:lnTo>
                  <a:close/>
                  <a:moveTo>
                    <a:pt x="685" y="192"/>
                  </a:moveTo>
                  <a:cubicBezTo>
                    <a:pt x="682" y="192"/>
                    <a:pt x="678" y="193"/>
                    <a:pt x="677" y="196"/>
                  </a:cubicBezTo>
                  <a:cubicBezTo>
                    <a:pt x="676" y="196"/>
                    <a:pt x="676" y="196"/>
                    <a:pt x="676" y="196"/>
                  </a:cubicBezTo>
                  <a:cubicBezTo>
                    <a:pt x="676" y="192"/>
                    <a:pt x="676" y="192"/>
                    <a:pt x="676" y="192"/>
                  </a:cubicBezTo>
                  <a:cubicBezTo>
                    <a:pt x="673" y="192"/>
                    <a:pt x="673" y="192"/>
                    <a:pt x="673" y="192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7" y="215"/>
                    <a:pt x="677" y="215"/>
                    <a:pt x="677" y="215"/>
                  </a:cubicBezTo>
                  <a:cubicBezTo>
                    <a:pt x="677" y="200"/>
                    <a:pt x="677" y="200"/>
                    <a:pt x="677" y="200"/>
                  </a:cubicBezTo>
                  <a:cubicBezTo>
                    <a:pt x="677" y="197"/>
                    <a:pt x="681" y="195"/>
                    <a:pt x="684" y="195"/>
                  </a:cubicBezTo>
                  <a:cubicBezTo>
                    <a:pt x="687" y="195"/>
                    <a:pt x="690" y="197"/>
                    <a:pt x="690" y="201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4" y="215"/>
                    <a:pt x="694" y="215"/>
                    <a:pt x="694" y="215"/>
                  </a:cubicBezTo>
                  <a:cubicBezTo>
                    <a:pt x="694" y="200"/>
                    <a:pt x="694" y="200"/>
                    <a:pt x="694" y="200"/>
                  </a:cubicBezTo>
                  <a:cubicBezTo>
                    <a:pt x="694" y="194"/>
                    <a:pt x="690" y="192"/>
                    <a:pt x="685" y="192"/>
                  </a:cubicBezTo>
                  <a:close/>
                  <a:moveTo>
                    <a:pt x="501" y="196"/>
                  </a:moveTo>
                  <a:cubicBezTo>
                    <a:pt x="500" y="196"/>
                    <a:pt x="500" y="196"/>
                    <a:pt x="500" y="196"/>
                  </a:cubicBezTo>
                  <a:cubicBezTo>
                    <a:pt x="500" y="192"/>
                    <a:pt x="500" y="192"/>
                    <a:pt x="500" y="192"/>
                  </a:cubicBezTo>
                  <a:cubicBezTo>
                    <a:pt x="496" y="192"/>
                    <a:pt x="496" y="192"/>
                    <a:pt x="496" y="192"/>
                  </a:cubicBezTo>
                  <a:cubicBezTo>
                    <a:pt x="496" y="215"/>
                    <a:pt x="496" y="215"/>
                    <a:pt x="496" y="215"/>
                  </a:cubicBezTo>
                  <a:cubicBezTo>
                    <a:pt x="500" y="215"/>
                    <a:pt x="500" y="215"/>
                    <a:pt x="500" y="215"/>
                  </a:cubicBezTo>
                  <a:cubicBezTo>
                    <a:pt x="500" y="202"/>
                    <a:pt x="500" y="202"/>
                    <a:pt x="500" y="202"/>
                  </a:cubicBezTo>
                  <a:cubicBezTo>
                    <a:pt x="501" y="198"/>
                    <a:pt x="503" y="195"/>
                    <a:pt x="506" y="195"/>
                  </a:cubicBezTo>
                  <a:cubicBezTo>
                    <a:pt x="509" y="195"/>
                    <a:pt x="509" y="195"/>
                    <a:pt x="509" y="195"/>
                  </a:cubicBezTo>
                  <a:cubicBezTo>
                    <a:pt x="509" y="192"/>
                    <a:pt x="509" y="192"/>
                    <a:pt x="509" y="192"/>
                  </a:cubicBezTo>
                  <a:cubicBezTo>
                    <a:pt x="506" y="192"/>
                    <a:pt x="506" y="192"/>
                    <a:pt x="506" y="192"/>
                  </a:cubicBezTo>
                  <a:cubicBezTo>
                    <a:pt x="503" y="192"/>
                    <a:pt x="501" y="193"/>
                    <a:pt x="501" y="196"/>
                  </a:cubicBezTo>
                  <a:close/>
                  <a:moveTo>
                    <a:pt x="513" y="215"/>
                  </a:moveTo>
                  <a:cubicBezTo>
                    <a:pt x="517" y="215"/>
                    <a:pt x="517" y="215"/>
                    <a:pt x="517" y="215"/>
                  </a:cubicBezTo>
                  <a:cubicBezTo>
                    <a:pt x="517" y="192"/>
                    <a:pt x="517" y="192"/>
                    <a:pt x="517" y="192"/>
                  </a:cubicBezTo>
                  <a:cubicBezTo>
                    <a:pt x="513" y="192"/>
                    <a:pt x="513" y="192"/>
                    <a:pt x="513" y="192"/>
                  </a:cubicBezTo>
                  <a:lnTo>
                    <a:pt x="513" y="215"/>
                  </a:lnTo>
                  <a:close/>
                  <a:moveTo>
                    <a:pt x="525" y="2"/>
                  </a:moveTo>
                  <a:cubicBezTo>
                    <a:pt x="472" y="142"/>
                    <a:pt x="472" y="142"/>
                    <a:pt x="472" y="142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87" y="147"/>
                    <a:pt x="487" y="147"/>
                    <a:pt x="487" y="147"/>
                  </a:cubicBezTo>
                  <a:cubicBezTo>
                    <a:pt x="506" y="95"/>
                    <a:pt x="506" y="95"/>
                    <a:pt x="506" y="95"/>
                  </a:cubicBezTo>
                  <a:cubicBezTo>
                    <a:pt x="569" y="95"/>
                    <a:pt x="569" y="95"/>
                    <a:pt x="569" y="95"/>
                  </a:cubicBezTo>
                  <a:cubicBezTo>
                    <a:pt x="589" y="147"/>
                    <a:pt x="589" y="147"/>
                    <a:pt x="589" y="147"/>
                  </a:cubicBezTo>
                  <a:cubicBezTo>
                    <a:pt x="606" y="147"/>
                    <a:pt x="606" y="147"/>
                    <a:pt x="606" y="147"/>
                  </a:cubicBezTo>
                  <a:cubicBezTo>
                    <a:pt x="606" y="142"/>
                    <a:pt x="606" y="142"/>
                    <a:pt x="606" y="142"/>
                  </a:cubicBezTo>
                  <a:cubicBezTo>
                    <a:pt x="551" y="2"/>
                    <a:pt x="551" y="2"/>
                    <a:pt x="551" y="2"/>
                  </a:cubicBezTo>
                  <a:lnTo>
                    <a:pt x="525" y="2"/>
                  </a:lnTo>
                  <a:close/>
                  <a:moveTo>
                    <a:pt x="512" y="81"/>
                  </a:moveTo>
                  <a:cubicBezTo>
                    <a:pt x="534" y="23"/>
                    <a:pt x="534" y="23"/>
                    <a:pt x="534" y="23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37" y="14"/>
                    <a:pt x="537" y="14"/>
                    <a:pt x="537" y="14"/>
                  </a:cubicBezTo>
                  <a:cubicBezTo>
                    <a:pt x="540" y="23"/>
                    <a:pt x="540" y="23"/>
                    <a:pt x="540" y="23"/>
                  </a:cubicBezTo>
                  <a:cubicBezTo>
                    <a:pt x="563" y="81"/>
                    <a:pt x="563" y="81"/>
                    <a:pt x="563" y="81"/>
                  </a:cubicBezTo>
                  <a:lnTo>
                    <a:pt x="512" y="81"/>
                  </a:lnTo>
                  <a:close/>
                  <a:moveTo>
                    <a:pt x="480" y="191"/>
                  </a:moveTo>
                  <a:cubicBezTo>
                    <a:pt x="477" y="191"/>
                    <a:pt x="474" y="193"/>
                    <a:pt x="473" y="195"/>
                  </a:cubicBezTo>
                  <a:cubicBezTo>
                    <a:pt x="473" y="195"/>
                    <a:pt x="473" y="195"/>
                    <a:pt x="473" y="195"/>
                  </a:cubicBezTo>
                  <a:cubicBezTo>
                    <a:pt x="473" y="192"/>
                    <a:pt x="473" y="192"/>
                    <a:pt x="473" y="192"/>
                  </a:cubicBezTo>
                  <a:cubicBezTo>
                    <a:pt x="469" y="192"/>
                    <a:pt x="469" y="192"/>
                    <a:pt x="469" y="192"/>
                  </a:cubicBezTo>
                  <a:cubicBezTo>
                    <a:pt x="469" y="225"/>
                    <a:pt x="469" y="225"/>
                    <a:pt x="469" y="225"/>
                  </a:cubicBezTo>
                  <a:cubicBezTo>
                    <a:pt x="473" y="225"/>
                    <a:pt x="473" y="225"/>
                    <a:pt x="473" y="225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3" y="212"/>
                    <a:pt x="473" y="212"/>
                    <a:pt x="473" y="212"/>
                  </a:cubicBezTo>
                  <a:cubicBezTo>
                    <a:pt x="474" y="214"/>
                    <a:pt x="477" y="216"/>
                    <a:pt x="480" y="216"/>
                  </a:cubicBezTo>
                  <a:cubicBezTo>
                    <a:pt x="486" y="216"/>
                    <a:pt x="491" y="211"/>
                    <a:pt x="491" y="203"/>
                  </a:cubicBezTo>
                  <a:cubicBezTo>
                    <a:pt x="491" y="196"/>
                    <a:pt x="487" y="191"/>
                    <a:pt x="480" y="191"/>
                  </a:cubicBezTo>
                  <a:close/>
                  <a:moveTo>
                    <a:pt x="479" y="212"/>
                  </a:moveTo>
                  <a:cubicBezTo>
                    <a:pt x="476" y="212"/>
                    <a:pt x="473" y="211"/>
                    <a:pt x="473" y="208"/>
                  </a:cubicBezTo>
                  <a:cubicBezTo>
                    <a:pt x="473" y="201"/>
                    <a:pt x="473" y="201"/>
                    <a:pt x="473" y="201"/>
                  </a:cubicBezTo>
                  <a:cubicBezTo>
                    <a:pt x="473" y="197"/>
                    <a:pt x="476" y="195"/>
                    <a:pt x="479" y="195"/>
                  </a:cubicBezTo>
                  <a:cubicBezTo>
                    <a:pt x="484" y="195"/>
                    <a:pt x="488" y="198"/>
                    <a:pt x="488" y="203"/>
                  </a:cubicBezTo>
                  <a:cubicBezTo>
                    <a:pt x="488" y="209"/>
                    <a:pt x="484" y="212"/>
                    <a:pt x="479" y="212"/>
                  </a:cubicBezTo>
                  <a:close/>
                  <a:moveTo>
                    <a:pt x="513" y="186"/>
                  </a:moveTo>
                  <a:cubicBezTo>
                    <a:pt x="517" y="186"/>
                    <a:pt x="517" y="186"/>
                    <a:pt x="517" y="186"/>
                  </a:cubicBezTo>
                  <a:cubicBezTo>
                    <a:pt x="517" y="181"/>
                    <a:pt x="517" y="181"/>
                    <a:pt x="517" y="181"/>
                  </a:cubicBezTo>
                  <a:cubicBezTo>
                    <a:pt x="513" y="181"/>
                    <a:pt x="513" y="181"/>
                    <a:pt x="513" y="181"/>
                  </a:cubicBezTo>
                  <a:lnTo>
                    <a:pt x="513" y="186"/>
                  </a:lnTo>
                  <a:close/>
                  <a:moveTo>
                    <a:pt x="566" y="204"/>
                  </a:moveTo>
                  <a:cubicBezTo>
                    <a:pt x="566" y="197"/>
                    <a:pt x="563" y="191"/>
                    <a:pt x="555" y="191"/>
                  </a:cubicBezTo>
                  <a:cubicBezTo>
                    <a:pt x="548" y="191"/>
                    <a:pt x="544" y="197"/>
                    <a:pt x="544" y="203"/>
                  </a:cubicBezTo>
                  <a:cubicBezTo>
                    <a:pt x="544" y="212"/>
                    <a:pt x="549" y="216"/>
                    <a:pt x="557" y="216"/>
                  </a:cubicBezTo>
                  <a:cubicBezTo>
                    <a:pt x="559" y="216"/>
                    <a:pt x="563" y="215"/>
                    <a:pt x="565" y="213"/>
                  </a:cubicBezTo>
                  <a:cubicBezTo>
                    <a:pt x="565" y="210"/>
                    <a:pt x="565" y="210"/>
                    <a:pt x="565" y="210"/>
                  </a:cubicBezTo>
                  <a:cubicBezTo>
                    <a:pt x="564" y="210"/>
                    <a:pt x="564" y="210"/>
                    <a:pt x="564" y="210"/>
                  </a:cubicBezTo>
                  <a:cubicBezTo>
                    <a:pt x="562" y="212"/>
                    <a:pt x="559" y="213"/>
                    <a:pt x="557" y="213"/>
                  </a:cubicBezTo>
                  <a:cubicBezTo>
                    <a:pt x="552" y="213"/>
                    <a:pt x="550" y="211"/>
                    <a:pt x="549" y="208"/>
                  </a:cubicBezTo>
                  <a:cubicBezTo>
                    <a:pt x="548" y="207"/>
                    <a:pt x="548" y="206"/>
                    <a:pt x="548" y="204"/>
                  </a:cubicBezTo>
                  <a:cubicBezTo>
                    <a:pt x="548" y="204"/>
                    <a:pt x="548" y="204"/>
                    <a:pt x="548" y="204"/>
                  </a:cubicBezTo>
                  <a:lnTo>
                    <a:pt x="566" y="204"/>
                  </a:lnTo>
                  <a:close/>
                  <a:moveTo>
                    <a:pt x="555" y="194"/>
                  </a:moveTo>
                  <a:cubicBezTo>
                    <a:pt x="559" y="194"/>
                    <a:pt x="562" y="197"/>
                    <a:pt x="562" y="201"/>
                  </a:cubicBezTo>
                  <a:cubicBezTo>
                    <a:pt x="548" y="201"/>
                    <a:pt x="548" y="201"/>
                    <a:pt x="548" y="201"/>
                  </a:cubicBezTo>
                  <a:cubicBezTo>
                    <a:pt x="549" y="197"/>
                    <a:pt x="551" y="194"/>
                    <a:pt x="555" y="194"/>
                  </a:cubicBezTo>
                  <a:close/>
                  <a:moveTo>
                    <a:pt x="526" y="198"/>
                  </a:moveTo>
                  <a:cubicBezTo>
                    <a:pt x="526" y="196"/>
                    <a:pt x="528" y="194"/>
                    <a:pt x="532" y="194"/>
                  </a:cubicBezTo>
                  <a:cubicBezTo>
                    <a:pt x="536" y="194"/>
                    <a:pt x="538" y="196"/>
                    <a:pt x="539" y="197"/>
                  </a:cubicBezTo>
                  <a:cubicBezTo>
                    <a:pt x="540" y="197"/>
                    <a:pt x="540" y="197"/>
                    <a:pt x="540" y="197"/>
                  </a:cubicBezTo>
                  <a:cubicBezTo>
                    <a:pt x="540" y="193"/>
                    <a:pt x="540" y="193"/>
                    <a:pt x="540" y="193"/>
                  </a:cubicBezTo>
                  <a:cubicBezTo>
                    <a:pt x="538" y="193"/>
                    <a:pt x="536" y="192"/>
                    <a:pt x="532" y="192"/>
                  </a:cubicBezTo>
                  <a:cubicBezTo>
                    <a:pt x="526" y="192"/>
                    <a:pt x="523" y="194"/>
                    <a:pt x="523" y="198"/>
                  </a:cubicBezTo>
                  <a:cubicBezTo>
                    <a:pt x="523" y="206"/>
                    <a:pt x="537" y="204"/>
                    <a:pt x="537" y="209"/>
                  </a:cubicBezTo>
                  <a:cubicBezTo>
                    <a:pt x="537" y="212"/>
                    <a:pt x="535" y="213"/>
                    <a:pt x="532" y="213"/>
                  </a:cubicBezTo>
                  <a:cubicBezTo>
                    <a:pt x="529" y="213"/>
                    <a:pt x="525" y="211"/>
                    <a:pt x="524" y="210"/>
                  </a:cubicBezTo>
                  <a:cubicBezTo>
                    <a:pt x="523" y="210"/>
                    <a:pt x="523" y="210"/>
                    <a:pt x="523" y="210"/>
                  </a:cubicBezTo>
                  <a:cubicBezTo>
                    <a:pt x="523" y="213"/>
                    <a:pt x="523" y="213"/>
                    <a:pt x="523" y="213"/>
                  </a:cubicBezTo>
                  <a:cubicBezTo>
                    <a:pt x="525" y="215"/>
                    <a:pt x="528" y="216"/>
                    <a:pt x="531" y="216"/>
                  </a:cubicBezTo>
                  <a:cubicBezTo>
                    <a:pt x="538" y="216"/>
                    <a:pt x="541" y="213"/>
                    <a:pt x="541" y="209"/>
                  </a:cubicBezTo>
                  <a:cubicBezTo>
                    <a:pt x="541" y="201"/>
                    <a:pt x="526" y="203"/>
                    <a:pt x="526" y="198"/>
                  </a:cubicBezTo>
                  <a:close/>
                  <a:moveTo>
                    <a:pt x="359" y="215"/>
                  </a:moveTo>
                  <a:cubicBezTo>
                    <a:pt x="382" y="215"/>
                    <a:pt x="382" y="215"/>
                    <a:pt x="382" y="215"/>
                  </a:cubicBezTo>
                  <a:cubicBezTo>
                    <a:pt x="382" y="212"/>
                    <a:pt x="382" y="212"/>
                    <a:pt x="382" y="212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00"/>
                    <a:pt x="363" y="200"/>
                    <a:pt x="363" y="200"/>
                  </a:cubicBezTo>
                  <a:cubicBezTo>
                    <a:pt x="381" y="200"/>
                    <a:pt x="381" y="200"/>
                    <a:pt x="381" y="200"/>
                  </a:cubicBezTo>
                  <a:cubicBezTo>
                    <a:pt x="381" y="197"/>
                    <a:pt x="381" y="197"/>
                    <a:pt x="381" y="197"/>
                  </a:cubicBezTo>
                  <a:cubicBezTo>
                    <a:pt x="363" y="197"/>
                    <a:pt x="363" y="197"/>
                    <a:pt x="363" y="197"/>
                  </a:cubicBezTo>
                  <a:cubicBezTo>
                    <a:pt x="363" y="185"/>
                    <a:pt x="363" y="185"/>
                    <a:pt x="363" y="185"/>
                  </a:cubicBezTo>
                  <a:cubicBezTo>
                    <a:pt x="382" y="185"/>
                    <a:pt x="382" y="185"/>
                    <a:pt x="382" y="185"/>
                  </a:cubicBezTo>
                  <a:cubicBezTo>
                    <a:pt x="382" y="182"/>
                    <a:pt x="382" y="182"/>
                    <a:pt x="382" y="182"/>
                  </a:cubicBezTo>
                  <a:cubicBezTo>
                    <a:pt x="359" y="182"/>
                    <a:pt x="359" y="182"/>
                    <a:pt x="359" y="182"/>
                  </a:cubicBezTo>
                  <a:lnTo>
                    <a:pt x="359" y="215"/>
                  </a:lnTo>
                  <a:close/>
                  <a:moveTo>
                    <a:pt x="457" y="196"/>
                  </a:moveTo>
                  <a:cubicBezTo>
                    <a:pt x="456" y="196"/>
                    <a:pt x="456" y="196"/>
                    <a:pt x="456" y="196"/>
                  </a:cubicBezTo>
                  <a:cubicBezTo>
                    <a:pt x="456" y="192"/>
                    <a:pt x="456" y="192"/>
                    <a:pt x="456" y="192"/>
                  </a:cubicBezTo>
                  <a:cubicBezTo>
                    <a:pt x="453" y="192"/>
                    <a:pt x="453" y="192"/>
                    <a:pt x="453" y="192"/>
                  </a:cubicBezTo>
                  <a:cubicBezTo>
                    <a:pt x="453" y="215"/>
                    <a:pt x="453" y="215"/>
                    <a:pt x="453" y="215"/>
                  </a:cubicBezTo>
                  <a:cubicBezTo>
                    <a:pt x="457" y="215"/>
                    <a:pt x="457" y="215"/>
                    <a:pt x="457" y="215"/>
                  </a:cubicBezTo>
                  <a:cubicBezTo>
                    <a:pt x="457" y="202"/>
                    <a:pt x="457" y="202"/>
                    <a:pt x="457" y="202"/>
                  </a:cubicBezTo>
                  <a:cubicBezTo>
                    <a:pt x="457" y="198"/>
                    <a:pt x="459" y="195"/>
                    <a:pt x="462" y="195"/>
                  </a:cubicBezTo>
                  <a:cubicBezTo>
                    <a:pt x="465" y="195"/>
                    <a:pt x="465" y="195"/>
                    <a:pt x="465" y="195"/>
                  </a:cubicBezTo>
                  <a:cubicBezTo>
                    <a:pt x="465" y="192"/>
                    <a:pt x="465" y="192"/>
                    <a:pt x="465" y="192"/>
                  </a:cubicBezTo>
                  <a:cubicBezTo>
                    <a:pt x="462" y="192"/>
                    <a:pt x="462" y="192"/>
                    <a:pt x="462" y="192"/>
                  </a:cubicBezTo>
                  <a:cubicBezTo>
                    <a:pt x="459" y="192"/>
                    <a:pt x="458" y="193"/>
                    <a:pt x="457" y="196"/>
                  </a:cubicBezTo>
                  <a:close/>
                  <a:moveTo>
                    <a:pt x="302" y="8"/>
                  </a:moveTo>
                  <a:cubicBezTo>
                    <a:pt x="301" y="4"/>
                    <a:pt x="297" y="2"/>
                    <a:pt x="293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2"/>
                    <a:pt x="159" y="3"/>
                    <a:pt x="157" y="5"/>
                  </a:cubicBezTo>
                  <a:cubicBezTo>
                    <a:pt x="73" y="89"/>
                    <a:pt x="73" y="89"/>
                    <a:pt x="73" y="89"/>
                  </a:cubicBezTo>
                  <a:cubicBezTo>
                    <a:pt x="69" y="92"/>
                    <a:pt x="69" y="99"/>
                    <a:pt x="73" y="103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89" y="143"/>
                    <a:pt x="89" y="143"/>
                    <a:pt x="89" y="143"/>
                  </a:cubicBezTo>
                  <a:cubicBezTo>
                    <a:pt x="85" y="147"/>
                    <a:pt x="85" y="153"/>
                    <a:pt x="89" y="157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35" y="203"/>
                    <a:pt x="141" y="203"/>
                    <a:pt x="145" y="199"/>
                  </a:cubicBezTo>
                  <a:cubicBezTo>
                    <a:pt x="158" y="186"/>
                    <a:pt x="158" y="186"/>
                    <a:pt x="158" y="186"/>
                  </a:cubicBezTo>
                  <a:cubicBezTo>
                    <a:pt x="195" y="222"/>
                    <a:pt x="195" y="222"/>
                    <a:pt x="195" y="222"/>
                  </a:cubicBezTo>
                  <a:cubicBezTo>
                    <a:pt x="197" y="224"/>
                    <a:pt x="199" y="225"/>
                    <a:pt x="202" y="225"/>
                  </a:cubicBezTo>
                  <a:cubicBezTo>
                    <a:pt x="204" y="225"/>
                    <a:pt x="207" y="224"/>
                    <a:pt x="209" y="222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00" y="131"/>
                    <a:pt x="301" y="128"/>
                    <a:pt x="301" y="126"/>
                  </a:cubicBezTo>
                  <a:cubicBezTo>
                    <a:pt x="301" y="123"/>
                    <a:pt x="300" y="120"/>
                    <a:pt x="298" y="119"/>
                  </a:cubicBezTo>
                  <a:cubicBezTo>
                    <a:pt x="249" y="69"/>
                    <a:pt x="249" y="69"/>
                    <a:pt x="249" y="6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3" y="16"/>
                    <a:pt x="304" y="12"/>
                    <a:pt x="302" y="8"/>
                  </a:cubicBezTo>
                  <a:close/>
                  <a:moveTo>
                    <a:pt x="217" y="57"/>
                  </a:moveTo>
                  <a:cubicBezTo>
                    <a:pt x="227" y="46"/>
                    <a:pt x="227" y="46"/>
                    <a:pt x="227" y="46"/>
                  </a:cubicBezTo>
                  <a:cubicBezTo>
                    <a:pt x="228" y="46"/>
                    <a:pt x="229" y="45"/>
                    <a:pt x="229" y="45"/>
                  </a:cubicBezTo>
                  <a:cubicBezTo>
                    <a:pt x="230" y="45"/>
                    <a:pt x="231" y="46"/>
                    <a:pt x="231" y="46"/>
                  </a:cubicBezTo>
                  <a:cubicBezTo>
                    <a:pt x="242" y="57"/>
                    <a:pt x="242" y="57"/>
                    <a:pt x="242" y="57"/>
                  </a:cubicBezTo>
                  <a:cubicBezTo>
                    <a:pt x="243" y="58"/>
                    <a:pt x="243" y="59"/>
                    <a:pt x="242" y="60"/>
                  </a:cubicBezTo>
                  <a:cubicBezTo>
                    <a:pt x="231" y="71"/>
                    <a:pt x="231" y="71"/>
                    <a:pt x="231" y="71"/>
                  </a:cubicBezTo>
                  <a:cubicBezTo>
                    <a:pt x="231" y="71"/>
                    <a:pt x="230" y="72"/>
                    <a:pt x="229" y="72"/>
                  </a:cubicBezTo>
                  <a:cubicBezTo>
                    <a:pt x="229" y="72"/>
                    <a:pt x="228" y="71"/>
                    <a:pt x="227" y="71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16" y="60"/>
                    <a:pt x="216" y="59"/>
                    <a:pt x="216" y="59"/>
                  </a:cubicBezTo>
                  <a:cubicBezTo>
                    <a:pt x="216" y="58"/>
                    <a:pt x="216" y="57"/>
                    <a:pt x="217" y="57"/>
                  </a:cubicBezTo>
                  <a:close/>
                  <a:moveTo>
                    <a:pt x="158" y="35"/>
                  </a:moveTo>
                  <a:cubicBezTo>
                    <a:pt x="158" y="34"/>
                    <a:pt x="158" y="33"/>
                    <a:pt x="160" y="33"/>
                  </a:cubicBezTo>
                  <a:cubicBezTo>
                    <a:pt x="161" y="32"/>
                    <a:pt x="162" y="32"/>
                    <a:pt x="163" y="33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1" y="32"/>
                    <a:pt x="202" y="32"/>
                    <a:pt x="204" y="33"/>
                  </a:cubicBezTo>
                  <a:cubicBezTo>
                    <a:pt x="205" y="33"/>
                    <a:pt x="205" y="34"/>
                    <a:pt x="205" y="35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5" y="78"/>
                    <a:pt x="205" y="79"/>
                    <a:pt x="204" y="79"/>
                  </a:cubicBezTo>
                  <a:cubicBezTo>
                    <a:pt x="184" y="100"/>
                    <a:pt x="184" y="100"/>
                    <a:pt x="184" y="100"/>
                  </a:cubicBezTo>
                  <a:cubicBezTo>
                    <a:pt x="183" y="101"/>
                    <a:pt x="182" y="101"/>
                    <a:pt x="182" y="101"/>
                  </a:cubicBezTo>
                  <a:cubicBezTo>
                    <a:pt x="181" y="101"/>
                    <a:pt x="180" y="101"/>
                    <a:pt x="179" y="100"/>
                  </a:cubicBezTo>
                  <a:cubicBezTo>
                    <a:pt x="159" y="79"/>
                    <a:pt x="159" y="79"/>
                    <a:pt x="159" y="79"/>
                  </a:cubicBezTo>
                  <a:cubicBezTo>
                    <a:pt x="158" y="79"/>
                    <a:pt x="158" y="78"/>
                    <a:pt x="158" y="77"/>
                  </a:cubicBezTo>
                  <a:lnTo>
                    <a:pt x="158" y="35"/>
                  </a:lnTo>
                  <a:close/>
                  <a:moveTo>
                    <a:pt x="121" y="57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3" y="45"/>
                    <a:pt x="134" y="45"/>
                  </a:cubicBezTo>
                  <a:cubicBezTo>
                    <a:pt x="134" y="45"/>
                    <a:pt x="135" y="46"/>
                    <a:pt x="136" y="46"/>
                  </a:cubicBezTo>
                  <a:cubicBezTo>
                    <a:pt x="146" y="57"/>
                    <a:pt x="146" y="57"/>
                    <a:pt x="146" y="57"/>
                  </a:cubicBezTo>
                  <a:cubicBezTo>
                    <a:pt x="147" y="58"/>
                    <a:pt x="147" y="59"/>
                    <a:pt x="146" y="60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5" y="71"/>
                    <a:pt x="134" y="72"/>
                    <a:pt x="134" y="72"/>
                  </a:cubicBezTo>
                  <a:cubicBezTo>
                    <a:pt x="133" y="72"/>
                    <a:pt x="132" y="71"/>
                    <a:pt x="132" y="71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1" y="60"/>
                    <a:pt x="121" y="59"/>
                    <a:pt x="121" y="59"/>
                  </a:cubicBezTo>
                  <a:cubicBezTo>
                    <a:pt x="121" y="58"/>
                    <a:pt x="121" y="57"/>
                    <a:pt x="121" y="57"/>
                  </a:cubicBezTo>
                  <a:close/>
                  <a:moveTo>
                    <a:pt x="146" y="156"/>
                  </a:moveTo>
                  <a:cubicBezTo>
                    <a:pt x="136" y="166"/>
                    <a:pt x="136" y="166"/>
                    <a:pt x="136" y="166"/>
                  </a:cubicBezTo>
                  <a:cubicBezTo>
                    <a:pt x="135" y="167"/>
                    <a:pt x="134" y="167"/>
                    <a:pt x="134" y="167"/>
                  </a:cubicBezTo>
                  <a:cubicBezTo>
                    <a:pt x="133" y="167"/>
                    <a:pt x="132" y="167"/>
                    <a:pt x="132" y="16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155"/>
                    <a:pt x="121" y="155"/>
                    <a:pt x="121" y="154"/>
                  </a:cubicBezTo>
                  <a:cubicBezTo>
                    <a:pt x="121" y="153"/>
                    <a:pt x="121" y="153"/>
                    <a:pt x="121" y="152"/>
                  </a:cubicBezTo>
                  <a:cubicBezTo>
                    <a:pt x="132" y="142"/>
                    <a:pt x="132" y="142"/>
                    <a:pt x="132" y="142"/>
                  </a:cubicBezTo>
                  <a:cubicBezTo>
                    <a:pt x="132" y="141"/>
                    <a:pt x="133" y="141"/>
                    <a:pt x="134" y="141"/>
                  </a:cubicBezTo>
                  <a:cubicBezTo>
                    <a:pt x="134" y="141"/>
                    <a:pt x="135" y="141"/>
                    <a:pt x="136" y="142"/>
                  </a:cubicBezTo>
                  <a:cubicBezTo>
                    <a:pt x="146" y="152"/>
                    <a:pt x="146" y="152"/>
                    <a:pt x="146" y="152"/>
                  </a:cubicBezTo>
                  <a:cubicBezTo>
                    <a:pt x="147" y="153"/>
                    <a:pt x="147" y="155"/>
                    <a:pt x="146" y="156"/>
                  </a:cubicBezTo>
                  <a:close/>
                  <a:moveTo>
                    <a:pt x="152" y="130"/>
                  </a:moveTo>
                  <a:cubicBezTo>
                    <a:pt x="110" y="130"/>
                    <a:pt x="110" y="130"/>
                    <a:pt x="110" y="130"/>
                  </a:cubicBezTo>
                  <a:cubicBezTo>
                    <a:pt x="109" y="130"/>
                    <a:pt x="108" y="130"/>
                    <a:pt x="107" y="129"/>
                  </a:cubicBezTo>
                  <a:cubicBezTo>
                    <a:pt x="107" y="127"/>
                    <a:pt x="107" y="126"/>
                    <a:pt x="108" y="125"/>
                  </a:cubicBezTo>
                  <a:cubicBezTo>
                    <a:pt x="127" y="107"/>
                    <a:pt x="127" y="107"/>
                    <a:pt x="127" y="107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7" y="87"/>
                    <a:pt x="107" y="86"/>
                    <a:pt x="107" y="85"/>
                  </a:cubicBezTo>
                  <a:cubicBezTo>
                    <a:pt x="108" y="83"/>
                    <a:pt x="109" y="83"/>
                    <a:pt x="110" y="83"/>
                  </a:cubicBezTo>
                  <a:cubicBezTo>
                    <a:pt x="152" y="83"/>
                    <a:pt x="152" y="83"/>
                    <a:pt x="152" y="83"/>
                  </a:cubicBezTo>
                  <a:cubicBezTo>
                    <a:pt x="153" y="83"/>
                    <a:pt x="153" y="83"/>
                    <a:pt x="154" y="84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5"/>
                    <a:pt x="176" y="106"/>
                    <a:pt x="176" y="107"/>
                  </a:cubicBezTo>
                  <a:cubicBezTo>
                    <a:pt x="176" y="107"/>
                    <a:pt x="175" y="108"/>
                    <a:pt x="175" y="109"/>
                  </a:cubicBezTo>
                  <a:cubicBezTo>
                    <a:pt x="154" y="130"/>
                    <a:pt x="154" y="130"/>
                    <a:pt x="154" y="130"/>
                  </a:cubicBezTo>
                  <a:cubicBezTo>
                    <a:pt x="153" y="130"/>
                    <a:pt x="153" y="130"/>
                    <a:pt x="152" y="130"/>
                  </a:cubicBezTo>
                  <a:close/>
                  <a:moveTo>
                    <a:pt x="205" y="178"/>
                  </a:moveTo>
                  <a:cubicBezTo>
                    <a:pt x="205" y="179"/>
                    <a:pt x="205" y="180"/>
                    <a:pt x="204" y="181"/>
                  </a:cubicBezTo>
                  <a:cubicBezTo>
                    <a:pt x="203" y="181"/>
                    <a:pt x="203" y="181"/>
                    <a:pt x="202" y="181"/>
                  </a:cubicBezTo>
                  <a:cubicBezTo>
                    <a:pt x="202" y="181"/>
                    <a:pt x="201" y="181"/>
                    <a:pt x="200" y="180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163" y="180"/>
                    <a:pt x="163" y="180"/>
                    <a:pt x="163" y="180"/>
                  </a:cubicBezTo>
                  <a:cubicBezTo>
                    <a:pt x="162" y="181"/>
                    <a:pt x="161" y="181"/>
                    <a:pt x="160" y="181"/>
                  </a:cubicBezTo>
                  <a:cubicBezTo>
                    <a:pt x="158" y="180"/>
                    <a:pt x="158" y="179"/>
                    <a:pt x="158" y="178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5"/>
                    <a:pt x="159" y="134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1" y="112"/>
                    <a:pt x="182" y="112"/>
                    <a:pt x="184" y="113"/>
                  </a:cubicBezTo>
                  <a:cubicBezTo>
                    <a:pt x="204" y="134"/>
                    <a:pt x="204" y="134"/>
                    <a:pt x="204" y="134"/>
                  </a:cubicBezTo>
                  <a:cubicBezTo>
                    <a:pt x="205" y="135"/>
                    <a:pt x="205" y="136"/>
                    <a:pt x="205" y="136"/>
                  </a:cubicBezTo>
                  <a:lnTo>
                    <a:pt x="205" y="178"/>
                  </a:lnTo>
                  <a:close/>
                  <a:moveTo>
                    <a:pt x="242" y="156"/>
                  </a:moveTo>
                  <a:cubicBezTo>
                    <a:pt x="231" y="166"/>
                    <a:pt x="231" y="166"/>
                    <a:pt x="231" y="166"/>
                  </a:cubicBezTo>
                  <a:cubicBezTo>
                    <a:pt x="231" y="167"/>
                    <a:pt x="230" y="167"/>
                    <a:pt x="229" y="167"/>
                  </a:cubicBezTo>
                  <a:cubicBezTo>
                    <a:pt x="229" y="167"/>
                    <a:pt x="228" y="167"/>
                    <a:pt x="227" y="166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6" y="155"/>
                    <a:pt x="216" y="155"/>
                    <a:pt x="216" y="154"/>
                  </a:cubicBezTo>
                  <a:cubicBezTo>
                    <a:pt x="216" y="153"/>
                    <a:pt x="216" y="153"/>
                    <a:pt x="217" y="152"/>
                  </a:cubicBezTo>
                  <a:cubicBezTo>
                    <a:pt x="227" y="142"/>
                    <a:pt x="227" y="142"/>
                    <a:pt x="227" y="142"/>
                  </a:cubicBezTo>
                  <a:cubicBezTo>
                    <a:pt x="228" y="141"/>
                    <a:pt x="229" y="141"/>
                    <a:pt x="229" y="141"/>
                  </a:cubicBezTo>
                  <a:cubicBezTo>
                    <a:pt x="230" y="141"/>
                    <a:pt x="231" y="141"/>
                    <a:pt x="231" y="142"/>
                  </a:cubicBezTo>
                  <a:cubicBezTo>
                    <a:pt x="242" y="152"/>
                    <a:pt x="242" y="152"/>
                    <a:pt x="242" y="152"/>
                  </a:cubicBezTo>
                  <a:cubicBezTo>
                    <a:pt x="243" y="153"/>
                    <a:pt x="243" y="155"/>
                    <a:pt x="242" y="156"/>
                  </a:cubicBezTo>
                  <a:close/>
                  <a:moveTo>
                    <a:pt x="253" y="83"/>
                  </a:moveTo>
                  <a:cubicBezTo>
                    <a:pt x="254" y="83"/>
                    <a:pt x="255" y="83"/>
                    <a:pt x="256" y="85"/>
                  </a:cubicBezTo>
                  <a:cubicBezTo>
                    <a:pt x="256" y="86"/>
                    <a:pt x="256" y="87"/>
                    <a:pt x="255" y="88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6" y="126"/>
                    <a:pt x="256" y="127"/>
                    <a:pt x="256" y="129"/>
                  </a:cubicBezTo>
                  <a:cubicBezTo>
                    <a:pt x="255" y="130"/>
                    <a:pt x="254" y="130"/>
                    <a:pt x="253" y="130"/>
                  </a:cubicBezTo>
                  <a:cubicBezTo>
                    <a:pt x="211" y="130"/>
                    <a:pt x="211" y="130"/>
                    <a:pt x="211" y="130"/>
                  </a:cubicBezTo>
                  <a:cubicBezTo>
                    <a:pt x="210" y="130"/>
                    <a:pt x="210" y="130"/>
                    <a:pt x="209" y="130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8" y="108"/>
                    <a:pt x="187" y="107"/>
                    <a:pt x="187" y="107"/>
                  </a:cubicBezTo>
                  <a:cubicBezTo>
                    <a:pt x="187" y="106"/>
                    <a:pt x="188" y="105"/>
                    <a:pt x="188" y="104"/>
                  </a:cubicBezTo>
                  <a:cubicBezTo>
                    <a:pt x="209" y="84"/>
                    <a:pt x="209" y="84"/>
                    <a:pt x="209" y="84"/>
                  </a:cubicBezTo>
                  <a:cubicBezTo>
                    <a:pt x="210" y="83"/>
                    <a:pt x="210" y="83"/>
                    <a:pt x="211" y="83"/>
                  </a:cubicBezTo>
                  <a:lnTo>
                    <a:pt x="253" y="83"/>
                  </a:lnTo>
                  <a:close/>
                  <a:moveTo>
                    <a:pt x="458" y="132"/>
                  </a:moveTo>
                  <a:cubicBezTo>
                    <a:pt x="376" y="132"/>
                    <a:pt x="376" y="132"/>
                    <a:pt x="376" y="132"/>
                  </a:cubicBezTo>
                  <a:cubicBezTo>
                    <a:pt x="376" y="80"/>
                    <a:pt x="376" y="80"/>
                    <a:pt x="376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2" y="66"/>
                    <a:pt x="452" y="66"/>
                    <a:pt x="452" y="66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458" y="2"/>
                    <a:pt x="458" y="2"/>
                    <a:pt x="458" y="2"/>
                  </a:cubicBezTo>
                  <a:cubicBezTo>
                    <a:pt x="359" y="2"/>
                    <a:pt x="359" y="2"/>
                    <a:pt x="359" y="2"/>
                  </a:cubicBezTo>
                  <a:cubicBezTo>
                    <a:pt x="359" y="147"/>
                    <a:pt x="359" y="147"/>
                    <a:pt x="359" y="147"/>
                  </a:cubicBezTo>
                  <a:cubicBezTo>
                    <a:pt x="458" y="147"/>
                    <a:pt x="458" y="147"/>
                    <a:pt x="458" y="147"/>
                  </a:cubicBezTo>
                  <a:lnTo>
                    <a:pt x="458" y="132"/>
                  </a:lnTo>
                  <a:close/>
                  <a:moveTo>
                    <a:pt x="399" y="192"/>
                  </a:moveTo>
                  <a:cubicBezTo>
                    <a:pt x="395" y="192"/>
                    <a:pt x="392" y="193"/>
                    <a:pt x="391" y="196"/>
                  </a:cubicBezTo>
                  <a:cubicBezTo>
                    <a:pt x="390" y="196"/>
                    <a:pt x="390" y="196"/>
                    <a:pt x="390" y="196"/>
                  </a:cubicBezTo>
                  <a:cubicBezTo>
                    <a:pt x="390" y="192"/>
                    <a:pt x="390" y="192"/>
                    <a:pt x="390" y="192"/>
                  </a:cubicBezTo>
                  <a:cubicBezTo>
                    <a:pt x="387" y="192"/>
                    <a:pt x="387" y="192"/>
                    <a:pt x="387" y="192"/>
                  </a:cubicBezTo>
                  <a:cubicBezTo>
                    <a:pt x="387" y="215"/>
                    <a:pt x="387" y="215"/>
                    <a:pt x="387" y="215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90" y="200"/>
                    <a:pt x="390" y="200"/>
                    <a:pt x="390" y="200"/>
                  </a:cubicBezTo>
                  <a:cubicBezTo>
                    <a:pt x="391" y="197"/>
                    <a:pt x="395" y="195"/>
                    <a:pt x="397" y="195"/>
                  </a:cubicBezTo>
                  <a:cubicBezTo>
                    <a:pt x="401" y="195"/>
                    <a:pt x="404" y="197"/>
                    <a:pt x="404" y="201"/>
                  </a:cubicBezTo>
                  <a:cubicBezTo>
                    <a:pt x="404" y="215"/>
                    <a:pt x="404" y="215"/>
                    <a:pt x="404" y="215"/>
                  </a:cubicBezTo>
                  <a:cubicBezTo>
                    <a:pt x="408" y="215"/>
                    <a:pt x="408" y="215"/>
                    <a:pt x="408" y="215"/>
                  </a:cubicBezTo>
                  <a:cubicBezTo>
                    <a:pt x="408" y="200"/>
                    <a:pt x="408" y="200"/>
                    <a:pt x="408" y="200"/>
                  </a:cubicBezTo>
                  <a:cubicBezTo>
                    <a:pt x="408" y="194"/>
                    <a:pt x="404" y="192"/>
                    <a:pt x="399" y="192"/>
                  </a:cubicBezTo>
                  <a:close/>
                  <a:moveTo>
                    <a:pt x="448" y="204"/>
                  </a:moveTo>
                  <a:cubicBezTo>
                    <a:pt x="448" y="197"/>
                    <a:pt x="445" y="191"/>
                    <a:pt x="437" y="191"/>
                  </a:cubicBezTo>
                  <a:cubicBezTo>
                    <a:pt x="430" y="191"/>
                    <a:pt x="426" y="197"/>
                    <a:pt x="426" y="203"/>
                  </a:cubicBezTo>
                  <a:cubicBezTo>
                    <a:pt x="426" y="212"/>
                    <a:pt x="431" y="216"/>
                    <a:pt x="439" y="216"/>
                  </a:cubicBezTo>
                  <a:cubicBezTo>
                    <a:pt x="441" y="216"/>
                    <a:pt x="445" y="215"/>
                    <a:pt x="447" y="213"/>
                  </a:cubicBezTo>
                  <a:cubicBezTo>
                    <a:pt x="447" y="210"/>
                    <a:pt x="447" y="210"/>
                    <a:pt x="447" y="210"/>
                  </a:cubicBezTo>
                  <a:cubicBezTo>
                    <a:pt x="446" y="210"/>
                    <a:pt x="446" y="210"/>
                    <a:pt x="446" y="210"/>
                  </a:cubicBezTo>
                  <a:cubicBezTo>
                    <a:pt x="444" y="212"/>
                    <a:pt x="441" y="213"/>
                    <a:pt x="439" y="213"/>
                  </a:cubicBezTo>
                  <a:cubicBezTo>
                    <a:pt x="435" y="213"/>
                    <a:pt x="432" y="211"/>
                    <a:pt x="431" y="208"/>
                  </a:cubicBezTo>
                  <a:cubicBezTo>
                    <a:pt x="430" y="207"/>
                    <a:pt x="430" y="206"/>
                    <a:pt x="430" y="204"/>
                  </a:cubicBezTo>
                  <a:cubicBezTo>
                    <a:pt x="430" y="204"/>
                    <a:pt x="430" y="204"/>
                    <a:pt x="430" y="204"/>
                  </a:cubicBezTo>
                  <a:lnTo>
                    <a:pt x="448" y="204"/>
                  </a:lnTo>
                  <a:close/>
                  <a:moveTo>
                    <a:pt x="437" y="194"/>
                  </a:moveTo>
                  <a:cubicBezTo>
                    <a:pt x="442" y="194"/>
                    <a:pt x="444" y="197"/>
                    <a:pt x="444" y="201"/>
                  </a:cubicBezTo>
                  <a:cubicBezTo>
                    <a:pt x="430" y="201"/>
                    <a:pt x="430" y="201"/>
                    <a:pt x="430" y="201"/>
                  </a:cubicBezTo>
                  <a:cubicBezTo>
                    <a:pt x="431" y="197"/>
                    <a:pt x="433" y="194"/>
                    <a:pt x="437" y="194"/>
                  </a:cubicBezTo>
                  <a:close/>
                  <a:moveTo>
                    <a:pt x="612" y="198"/>
                  </a:moveTo>
                  <a:cubicBezTo>
                    <a:pt x="612" y="196"/>
                    <a:pt x="614" y="194"/>
                    <a:pt x="617" y="194"/>
                  </a:cubicBezTo>
                  <a:cubicBezTo>
                    <a:pt x="621" y="194"/>
                    <a:pt x="623" y="196"/>
                    <a:pt x="624" y="197"/>
                  </a:cubicBezTo>
                  <a:cubicBezTo>
                    <a:pt x="625" y="197"/>
                    <a:pt x="625" y="197"/>
                    <a:pt x="625" y="197"/>
                  </a:cubicBezTo>
                  <a:cubicBezTo>
                    <a:pt x="625" y="193"/>
                    <a:pt x="625" y="193"/>
                    <a:pt x="625" y="193"/>
                  </a:cubicBezTo>
                  <a:cubicBezTo>
                    <a:pt x="624" y="193"/>
                    <a:pt x="621" y="192"/>
                    <a:pt x="617" y="192"/>
                  </a:cubicBezTo>
                  <a:cubicBezTo>
                    <a:pt x="611" y="192"/>
                    <a:pt x="608" y="194"/>
                    <a:pt x="608" y="198"/>
                  </a:cubicBezTo>
                  <a:cubicBezTo>
                    <a:pt x="608" y="206"/>
                    <a:pt x="622" y="204"/>
                    <a:pt x="622" y="209"/>
                  </a:cubicBezTo>
                  <a:cubicBezTo>
                    <a:pt x="622" y="212"/>
                    <a:pt x="621" y="213"/>
                    <a:pt x="617" y="213"/>
                  </a:cubicBezTo>
                  <a:cubicBezTo>
                    <a:pt x="614" y="213"/>
                    <a:pt x="611" y="211"/>
                    <a:pt x="609" y="210"/>
                  </a:cubicBezTo>
                  <a:cubicBezTo>
                    <a:pt x="608" y="210"/>
                    <a:pt x="608" y="210"/>
                    <a:pt x="608" y="210"/>
                  </a:cubicBezTo>
                  <a:cubicBezTo>
                    <a:pt x="608" y="213"/>
                    <a:pt x="608" y="213"/>
                    <a:pt x="608" y="213"/>
                  </a:cubicBezTo>
                  <a:cubicBezTo>
                    <a:pt x="610" y="215"/>
                    <a:pt x="613" y="216"/>
                    <a:pt x="617" y="216"/>
                  </a:cubicBezTo>
                  <a:cubicBezTo>
                    <a:pt x="623" y="216"/>
                    <a:pt x="626" y="213"/>
                    <a:pt x="626" y="209"/>
                  </a:cubicBezTo>
                  <a:cubicBezTo>
                    <a:pt x="626" y="201"/>
                    <a:pt x="612" y="203"/>
                    <a:pt x="612" y="198"/>
                  </a:cubicBezTo>
                  <a:close/>
                  <a:moveTo>
                    <a:pt x="418" y="184"/>
                  </a:moveTo>
                  <a:cubicBezTo>
                    <a:pt x="415" y="184"/>
                    <a:pt x="415" y="184"/>
                    <a:pt x="415" y="184"/>
                  </a:cubicBezTo>
                  <a:cubicBezTo>
                    <a:pt x="415" y="192"/>
                    <a:pt x="415" y="192"/>
                    <a:pt x="415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11" y="195"/>
                    <a:pt x="411" y="195"/>
                    <a:pt x="411" y="195"/>
                  </a:cubicBezTo>
                  <a:cubicBezTo>
                    <a:pt x="415" y="195"/>
                    <a:pt x="415" y="195"/>
                    <a:pt x="415" y="195"/>
                  </a:cubicBezTo>
                  <a:cubicBezTo>
                    <a:pt x="414" y="208"/>
                    <a:pt x="414" y="208"/>
                    <a:pt x="414" y="208"/>
                  </a:cubicBezTo>
                  <a:cubicBezTo>
                    <a:pt x="414" y="214"/>
                    <a:pt x="416" y="215"/>
                    <a:pt x="420" y="215"/>
                  </a:cubicBezTo>
                  <a:cubicBezTo>
                    <a:pt x="423" y="215"/>
                    <a:pt x="423" y="215"/>
                    <a:pt x="423" y="215"/>
                  </a:cubicBezTo>
                  <a:cubicBezTo>
                    <a:pt x="423" y="212"/>
                    <a:pt x="423" y="212"/>
                    <a:pt x="423" y="212"/>
                  </a:cubicBezTo>
                  <a:cubicBezTo>
                    <a:pt x="421" y="212"/>
                    <a:pt x="421" y="212"/>
                    <a:pt x="421" y="212"/>
                  </a:cubicBezTo>
                  <a:cubicBezTo>
                    <a:pt x="419" y="212"/>
                    <a:pt x="418" y="212"/>
                    <a:pt x="418" y="209"/>
                  </a:cubicBezTo>
                  <a:cubicBezTo>
                    <a:pt x="418" y="195"/>
                    <a:pt x="418" y="195"/>
                    <a:pt x="418" y="195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4" y="192"/>
                    <a:pt x="424" y="192"/>
                    <a:pt x="424" y="192"/>
                  </a:cubicBezTo>
                  <a:cubicBezTo>
                    <a:pt x="418" y="192"/>
                    <a:pt x="418" y="192"/>
                    <a:pt x="418" y="192"/>
                  </a:cubicBezTo>
                  <a:lnTo>
                    <a:pt x="418" y="184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:a16="http://schemas.microsoft.com/office/drawing/2014/main" id="{D50C385F-C635-4F81-8254-001A9A2E22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68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0 w 129"/>
                <a:gd name="T13" fmla="*/ 83 h 189"/>
                <a:gd name="T14" fmla="*/ 120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8 w 129"/>
                <a:gd name="T21" fmla="*/ 170 h 189"/>
                <a:gd name="T22" fmla="*/ 128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0" y="83"/>
                  </a:lnTo>
                  <a:lnTo>
                    <a:pt x="120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8" y="170"/>
                  </a:lnTo>
                  <a:lnTo>
                    <a:pt x="128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8">
              <a:extLst>
                <a:ext uri="{FF2B5EF4-FFF2-40B4-BE49-F238E27FC236}">
                  <a16:creationId xmlns:a16="http://schemas.microsoft.com/office/drawing/2014/main" id="{49686BEA-B8F2-4B66-AC96-62CE42340E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6" y="2074"/>
              <a:ext cx="118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4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6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9">
              <a:extLst>
                <a:ext uri="{FF2B5EF4-FFF2-40B4-BE49-F238E27FC236}">
                  <a16:creationId xmlns:a16="http://schemas.microsoft.com/office/drawing/2014/main" id="{31928231-372D-46D6-8174-3E5070E401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0" y="2030"/>
              <a:ext cx="73" cy="179"/>
            </a:xfrm>
            <a:custGeom>
              <a:avLst/>
              <a:gdLst>
                <a:gd name="T0" fmla="*/ 32 w 57"/>
                <a:gd name="T1" fmla="*/ 35 h 138"/>
                <a:gd name="T2" fmla="*/ 57 w 57"/>
                <a:gd name="T3" fmla="*/ 35 h 138"/>
                <a:gd name="T4" fmla="*/ 57 w 57"/>
                <a:gd name="T5" fmla="*/ 48 h 138"/>
                <a:gd name="T6" fmla="*/ 32 w 57"/>
                <a:gd name="T7" fmla="*/ 48 h 138"/>
                <a:gd name="T8" fmla="*/ 32 w 57"/>
                <a:gd name="T9" fmla="*/ 110 h 138"/>
                <a:gd name="T10" fmla="*/ 45 w 57"/>
                <a:gd name="T11" fmla="*/ 126 h 138"/>
                <a:gd name="T12" fmla="*/ 55 w 57"/>
                <a:gd name="T13" fmla="*/ 126 h 138"/>
                <a:gd name="T14" fmla="*/ 55 w 57"/>
                <a:gd name="T15" fmla="*/ 138 h 138"/>
                <a:gd name="T16" fmla="*/ 42 w 57"/>
                <a:gd name="T17" fmla="*/ 138 h 138"/>
                <a:gd name="T18" fmla="*/ 16 w 57"/>
                <a:gd name="T19" fmla="*/ 108 h 138"/>
                <a:gd name="T20" fmla="*/ 17 w 57"/>
                <a:gd name="T21" fmla="*/ 48 h 138"/>
                <a:gd name="T22" fmla="*/ 0 w 57"/>
                <a:gd name="T23" fmla="*/ 48 h 138"/>
                <a:gd name="T24" fmla="*/ 0 w 57"/>
                <a:gd name="T25" fmla="*/ 35 h 138"/>
                <a:gd name="T26" fmla="*/ 17 w 57"/>
                <a:gd name="T27" fmla="*/ 35 h 138"/>
                <a:gd name="T28" fmla="*/ 17 w 57"/>
                <a:gd name="T29" fmla="*/ 0 h 138"/>
                <a:gd name="T30" fmla="*/ 33 w 57"/>
                <a:gd name="T31" fmla="*/ 0 h 138"/>
                <a:gd name="T32" fmla="*/ 32 w 57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138">
                  <a:moveTo>
                    <a:pt x="32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110"/>
                    <a:pt x="32" y="110"/>
                    <a:pt x="32" y="110"/>
                  </a:cubicBezTo>
                  <a:cubicBezTo>
                    <a:pt x="32" y="123"/>
                    <a:pt x="37" y="126"/>
                    <a:pt x="45" y="126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42" y="138"/>
                    <a:pt x="42" y="138"/>
                    <a:pt x="42" y="138"/>
                  </a:cubicBezTo>
                  <a:cubicBezTo>
                    <a:pt x="24" y="138"/>
                    <a:pt x="16" y="132"/>
                    <a:pt x="16" y="10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2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0">
              <a:extLst>
                <a:ext uri="{FF2B5EF4-FFF2-40B4-BE49-F238E27FC236}">
                  <a16:creationId xmlns:a16="http://schemas.microsoft.com/office/drawing/2014/main" id="{42D4DAC9-1F64-494D-BE7B-D03E2E9241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52" y="2073"/>
              <a:ext cx="127" cy="140"/>
            </a:xfrm>
            <a:custGeom>
              <a:avLst/>
              <a:gdLst>
                <a:gd name="T0" fmla="*/ 17 w 98"/>
                <a:gd name="T1" fmla="*/ 55 h 108"/>
                <a:gd name="T2" fmla="*/ 17 w 98"/>
                <a:gd name="T3" fmla="*/ 56 h 108"/>
                <a:gd name="T4" fmla="*/ 19 w 98"/>
                <a:gd name="T5" fmla="*/ 72 h 108"/>
                <a:gd name="T6" fmla="*/ 55 w 98"/>
                <a:gd name="T7" fmla="*/ 94 h 108"/>
                <a:gd name="T8" fmla="*/ 89 w 98"/>
                <a:gd name="T9" fmla="*/ 83 h 108"/>
                <a:gd name="T10" fmla="*/ 93 w 98"/>
                <a:gd name="T11" fmla="*/ 83 h 108"/>
                <a:gd name="T12" fmla="*/ 93 w 98"/>
                <a:gd name="T13" fmla="*/ 95 h 108"/>
                <a:gd name="T14" fmla="*/ 55 w 98"/>
                <a:gd name="T15" fmla="*/ 108 h 108"/>
                <a:gd name="T16" fmla="*/ 0 w 98"/>
                <a:gd name="T17" fmla="*/ 53 h 108"/>
                <a:gd name="T18" fmla="*/ 49 w 98"/>
                <a:gd name="T19" fmla="*/ 0 h 108"/>
                <a:gd name="T20" fmla="*/ 98 w 98"/>
                <a:gd name="T21" fmla="*/ 55 h 108"/>
                <a:gd name="T22" fmla="*/ 17 w 98"/>
                <a:gd name="T23" fmla="*/ 55 h 108"/>
                <a:gd name="T24" fmla="*/ 18 w 98"/>
                <a:gd name="T25" fmla="*/ 42 h 108"/>
                <a:gd name="T26" fmla="*/ 80 w 98"/>
                <a:gd name="T27" fmla="*/ 42 h 108"/>
                <a:gd name="T28" fmla="*/ 49 w 98"/>
                <a:gd name="T29" fmla="*/ 14 h 108"/>
                <a:gd name="T30" fmla="*/ 18 w 98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" h="108">
                  <a:moveTo>
                    <a:pt x="17" y="55"/>
                  </a:moveTo>
                  <a:cubicBezTo>
                    <a:pt x="17" y="56"/>
                    <a:pt x="17" y="56"/>
                    <a:pt x="17" y="56"/>
                  </a:cubicBezTo>
                  <a:cubicBezTo>
                    <a:pt x="17" y="63"/>
                    <a:pt x="17" y="68"/>
                    <a:pt x="19" y="72"/>
                  </a:cubicBezTo>
                  <a:cubicBezTo>
                    <a:pt x="25" y="86"/>
                    <a:pt x="37" y="94"/>
                    <a:pt x="55" y="94"/>
                  </a:cubicBezTo>
                  <a:cubicBezTo>
                    <a:pt x="66" y="94"/>
                    <a:pt x="79" y="90"/>
                    <a:pt x="89" y="83"/>
                  </a:cubicBezTo>
                  <a:cubicBezTo>
                    <a:pt x="93" y="83"/>
                    <a:pt x="93" y="83"/>
                    <a:pt x="93" y="83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2" y="105"/>
                    <a:pt x="66" y="108"/>
                    <a:pt x="55" y="108"/>
                  </a:cubicBezTo>
                  <a:cubicBezTo>
                    <a:pt x="20" y="108"/>
                    <a:pt x="0" y="90"/>
                    <a:pt x="0" y="53"/>
                  </a:cubicBezTo>
                  <a:cubicBezTo>
                    <a:pt x="0" y="24"/>
                    <a:pt x="18" y="0"/>
                    <a:pt x="49" y="0"/>
                  </a:cubicBezTo>
                  <a:cubicBezTo>
                    <a:pt x="84" y="0"/>
                    <a:pt x="97" y="24"/>
                    <a:pt x="98" y="55"/>
                  </a:cubicBezTo>
                  <a:lnTo>
                    <a:pt x="17" y="55"/>
                  </a:lnTo>
                  <a:close/>
                  <a:moveTo>
                    <a:pt x="18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79" y="26"/>
                    <a:pt x="68" y="14"/>
                    <a:pt x="49" y="14"/>
                  </a:cubicBezTo>
                  <a:cubicBezTo>
                    <a:pt x="30" y="14"/>
                    <a:pt x="20" y="24"/>
                    <a:pt x="18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1">
              <a:extLst>
                <a:ext uri="{FF2B5EF4-FFF2-40B4-BE49-F238E27FC236}">
                  <a16:creationId xmlns:a16="http://schemas.microsoft.com/office/drawing/2014/main" id="{51171000-CAD5-4B32-9719-82FD21CF6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06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:a16="http://schemas.microsoft.com/office/drawing/2014/main" id="{5E107D68-8E10-4526-BE6A-7319E30511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00" y="2073"/>
              <a:ext cx="129" cy="193"/>
            </a:xfrm>
            <a:custGeom>
              <a:avLst/>
              <a:gdLst>
                <a:gd name="T0" fmla="*/ 0 w 100"/>
                <a:gd name="T1" fmla="*/ 2 h 149"/>
                <a:gd name="T2" fmla="*/ 17 w 100"/>
                <a:gd name="T3" fmla="*/ 2 h 149"/>
                <a:gd name="T4" fmla="*/ 17 w 100"/>
                <a:gd name="T5" fmla="*/ 15 h 149"/>
                <a:gd name="T6" fmla="*/ 19 w 100"/>
                <a:gd name="T7" fmla="*/ 15 h 149"/>
                <a:gd name="T8" fmla="*/ 50 w 100"/>
                <a:gd name="T9" fmla="*/ 0 h 149"/>
                <a:gd name="T10" fmla="*/ 100 w 100"/>
                <a:gd name="T11" fmla="*/ 52 h 149"/>
                <a:gd name="T12" fmla="*/ 49 w 100"/>
                <a:gd name="T13" fmla="*/ 107 h 149"/>
                <a:gd name="T14" fmla="*/ 19 w 100"/>
                <a:gd name="T15" fmla="*/ 90 h 149"/>
                <a:gd name="T16" fmla="*/ 17 w 100"/>
                <a:gd name="T17" fmla="*/ 90 h 149"/>
                <a:gd name="T18" fmla="*/ 17 w 100"/>
                <a:gd name="T19" fmla="*/ 149 h 149"/>
                <a:gd name="T20" fmla="*/ 0 w 100"/>
                <a:gd name="T21" fmla="*/ 149 h 149"/>
                <a:gd name="T22" fmla="*/ 0 w 100"/>
                <a:gd name="T23" fmla="*/ 2 h 149"/>
                <a:gd name="T24" fmla="*/ 17 w 100"/>
                <a:gd name="T25" fmla="*/ 42 h 149"/>
                <a:gd name="T26" fmla="*/ 17 w 100"/>
                <a:gd name="T27" fmla="*/ 72 h 149"/>
                <a:gd name="T28" fmla="*/ 46 w 100"/>
                <a:gd name="T29" fmla="*/ 93 h 149"/>
                <a:gd name="T30" fmla="*/ 83 w 100"/>
                <a:gd name="T31" fmla="*/ 52 h 149"/>
                <a:gd name="T32" fmla="*/ 47 w 100"/>
                <a:gd name="T33" fmla="*/ 14 h 149"/>
                <a:gd name="T34" fmla="*/ 17 w 100"/>
                <a:gd name="T3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9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4" y="6"/>
                    <a:pt x="36" y="0"/>
                    <a:pt x="50" y="0"/>
                  </a:cubicBezTo>
                  <a:cubicBezTo>
                    <a:pt x="80" y="0"/>
                    <a:pt x="100" y="21"/>
                    <a:pt x="100" y="52"/>
                  </a:cubicBezTo>
                  <a:cubicBezTo>
                    <a:pt x="100" y="85"/>
                    <a:pt x="77" y="107"/>
                    <a:pt x="49" y="107"/>
                  </a:cubicBezTo>
                  <a:cubicBezTo>
                    <a:pt x="38" y="107"/>
                    <a:pt x="24" y="101"/>
                    <a:pt x="19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0" y="2"/>
                  </a:lnTo>
                  <a:close/>
                  <a:moveTo>
                    <a:pt x="17" y="42"/>
                  </a:moveTo>
                  <a:cubicBezTo>
                    <a:pt x="17" y="72"/>
                    <a:pt x="17" y="72"/>
                    <a:pt x="17" y="72"/>
                  </a:cubicBezTo>
                  <a:cubicBezTo>
                    <a:pt x="17" y="85"/>
                    <a:pt x="32" y="93"/>
                    <a:pt x="46" y="93"/>
                  </a:cubicBezTo>
                  <a:cubicBezTo>
                    <a:pt x="66" y="93"/>
                    <a:pt x="83" y="80"/>
                    <a:pt x="83" y="52"/>
                  </a:cubicBezTo>
                  <a:cubicBezTo>
                    <a:pt x="83" y="28"/>
                    <a:pt x="67" y="14"/>
                    <a:pt x="47" y="14"/>
                  </a:cubicBezTo>
                  <a:cubicBezTo>
                    <a:pt x="32" y="14"/>
                    <a:pt x="17" y="26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:a16="http://schemas.microsoft.com/office/drawing/2014/main" id="{68ECDDB5-F30D-468B-9BFF-D616C7F43C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2074"/>
              <a:ext cx="72" cy="135"/>
            </a:xfrm>
            <a:custGeom>
              <a:avLst/>
              <a:gdLst>
                <a:gd name="T0" fmla="*/ 0 w 56"/>
                <a:gd name="T1" fmla="*/ 1 h 104"/>
                <a:gd name="T2" fmla="*/ 16 w 56"/>
                <a:gd name="T3" fmla="*/ 1 h 104"/>
                <a:gd name="T4" fmla="*/ 16 w 56"/>
                <a:gd name="T5" fmla="*/ 19 h 104"/>
                <a:gd name="T6" fmla="*/ 19 w 56"/>
                <a:gd name="T7" fmla="*/ 19 h 104"/>
                <a:gd name="T8" fmla="*/ 41 w 56"/>
                <a:gd name="T9" fmla="*/ 0 h 104"/>
                <a:gd name="T10" fmla="*/ 56 w 56"/>
                <a:gd name="T11" fmla="*/ 0 h 104"/>
                <a:gd name="T12" fmla="*/ 56 w 56"/>
                <a:gd name="T13" fmla="*/ 15 h 104"/>
                <a:gd name="T14" fmla="*/ 41 w 56"/>
                <a:gd name="T15" fmla="*/ 15 h 104"/>
                <a:gd name="T16" fmla="*/ 17 w 56"/>
                <a:gd name="T17" fmla="*/ 44 h 104"/>
                <a:gd name="T18" fmla="*/ 17 w 56"/>
                <a:gd name="T19" fmla="*/ 104 h 104"/>
                <a:gd name="T20" fmla="*/ 0 w 56"/>
                <a:gd name="T21" fmla="*/ 104 h 104"/>
                <a:gd name="T22" fmla="*/ 0 w 56"/>
                <a:gd name="T23" fmla="*/ 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4">
                  <a:moveTo>
                    <a:pt x="0" y="1"/>
                  </a:moveTo>
                  <a:cubicBezTo>
                    <a:pt x="16" y="1"/>
                    <a:pt x="16" y="1"/>
                    <a:pt x="16" y="1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2" y="7"/>
                    <a:pt x="30" y="0"/>
                    <a:pt x="41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9" y="15"/>
                    <a:pt x="18" y="27"/>
                    <a:pt x="17" y="4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0" y="104"/>
                    <a:pt x="0" y="104"/>
                    <a:pt x="0" y="104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:a16="http://schemas.microsoft.com/office/drawing/2014/main" id="{612C0FFF-09FC-4E07-811B-1F3F18C161B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451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:a16="http://schemas.microsoft.com/office/drawing/2014/main" id="{59C7F935-134B-4A8C-BD69-78A07B5277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01" y="2074"/>
              <a:ext cx="103" cy="139"/>
            </a:xfrm>
            <a:custGeom>
              <a:avLst/>
              <a:gdLst>
                <a:gd name="T0" fmla="*/ 0 w 80"/>
                <a:gd name="T1" fmla="*/ 79 h 107"/>
                <a:gd name="T2" fmla="*/ 6 w 80"/>
                <a:gd name="T3" fmla="*/ 79 h 107"/>
                <a:gd name="T4" fmla="*/ 39 w 80"/>
                <a:gd name="T5" fmla="*/ 94 h 107"/>
                <a:gd name="T6" fmla="*/ 64 w 80"/>
                <a:gd name="T7" fmla="*/ 78 h 107"/>
                <a:gd name="T8" fmla="*/ 1 w 80"/>
                <a:gd name="T9" fmla="*/ 29 h 107"/>
                <a:gd name="T10" fmla="*/ 42 w 80"/>
                <a:gd name="T11" fmla="*/ 0 h 107"/>
                <a:gd name="T12" fmla="*/ 74 w 80"/>
                <a:gd name="T13" fmla="*/ 8 h 107"/>
                <a:gd name="T14" fmla="*/ 74 w 80"/>
                <a:gd name="T15" fmla="*/ 24 h 107"/>
                <a:gd name="T16" fmla="*/ 70 w 80"/>
                <a:gd name="T17" fmla="*/ 24 h 107"/>
                <a:gd name="T18" fmla="*/ 42 w 80"/>
                <a:gd name="T19" fmla="*/ 12 h 107"/>
                <a:gd name="T20" fmla="*/ 17 w 80"/>
                <a:gd name="T21" fmla="*/ 26 h 107"/>
                <a:gd name="T22" fmla="*/ 80 w 80"/>
                <a:gd name="T23" fmla="*/ 77 h 107"/>
                <a:gd name="T24" fmla="*/ 39 w 80"/>
                <a:gd name="T25" fmla="*/ 107 h 107"/>
                <a:gd name="T26" fmla="*/ 0 w 80"/>
                <a:gd name="T27" fmla="*/ 95 h 107"/>
                <a:gd name="T28" fmla="*/ 0 w 80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0" h="107">
                  <a:moveTo>
                    <a:pt x="0" y="79"/>
                  </a:moveTo>
                  <a:cubicBezTo>
                    <a:pt x="6" y="79"/>
                    <a:pt x="6" y="79"/>
                    <a:pt x="6" y="79"/>
                  </a:cubicBezTo>
                  <a:cubicBezTo>
                    <a:pt x="11" y="87"/>
                    <a:pt x="26" y="94"/>
                    <a:pt x="39" y="94"/>
                  </a:cubicBezTo>
                  <a:cubicBezTo>
                    <a:pt x="55" y="94"/>
                    <a:pt x="64" y="89"/>
                    <a:pt x="64" y="78"/>
                  </a:cubicBezTo>
                  <a:cubicBezTo>
                    <a:pt x="64" y="57"/>
                    <a:pt x="1" y="64"/>
                    <a:pt x="1" y="29"/>
                  </a:cubicBezTo>
                  <a:cubicBezTo>
                    <a:pt x="1" y="11"/>
                    <a:pt x="14" y="0"/>
                    <a:pt x="42" y="0"/>
                  </a:cubicBezTo>
                  <a:cubicBezTo>
                    <a:pt x="57" y="0"/>
                    <a:pt x="69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66" y="20"/>
                    <a:pt x="56" y="12"/>
                    <a:pt x="42" y="12"/>
                  </a:cubicBezTo>
                  <a:cubicBezTo>
                    <a:pt x="24" y="12"/>
                    <a:pt x="17" y="18"/>
                    <a:pt x="17" y="26"/>
                  </a:cubicBezTo>
                  <a:cubicBezTo>
                    <a:pt x="17" y="51"/>
                    <a:pt x="80" y="41"/>
                    <a:pt x="80" y="77"/>
                  </a:cubicBezTo>
                  <a:cubicBezTo>
                    <a:pt x="80" y="96"/>
                    <a:pt x="68" y="107"/>
                    <a:pt x="39" y="107"/>
                  </a:cubicBezTo>
                  <a:cubicBezTo>
                    <a:pt x="23" y="107"/>
                    <a:pt x="10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:a16="http://schemas.microsoft.com/office/drawing/2014/main" id="{D0E404A6-6B13-4186-947E-EC02CCA3A4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21" y="2073"/>
              <a:ext cx="125" cy="140"/>
            </a:xfrm>
            <a:custGeom>
              <a:avLst/>
              <a:gdLst>
                <a:gd name="T0" fmla="*/ 16 w 97"/>
                <a:gd name="T1" fmla="*/ 55 h 108"/>
                <a:gd name="T2" fmla="*/ 16 w 97"/>
                <a:gd name="T3" fmla="*/ 56 h 108"/>
                <a:gd name="T4" fmla="*/ 19 w 97"/>
                <a:gd name="T5" fmla="*/ 72 h 108"/>
                <a:gd name="T6" fmla="*/ 55 w 97"/>
                <a:gd name="T7" fmla="*/ 94 h 108"/>
                <a:gd name="T8" fmla="*/ 88 w 97"/>
                <a:gd name="T9" fmla="*/ 83 h 108"/>
                <a:gd name="T10" fmla="*/ 92 w 97"/>
                <a:gd name="T11" fmla="*/ 83 h 108"/>
                <a:gd name="T12" fmla="*/ 92 w 97"/>
                <a:gd name="T13" fmla="*/ 95 h 108"/>
                <a:gd name="T14" fmla="*/ 55 w 97"/>
                <a:gd name="T15" fmla="*/ 108 h 108"/>
                <a:gd name="T16" fmla="*/ 0 w 97"/>
                <a:gd name="T17" fmla="*/ 53 h 108"/>
                <a:gd name="T18" fmla="*/ 48 w 97"/>
                <a:gd name="T19" fmla="*/ 0 h 108"/>
                <a:gd name="T20" fmla="*/ 97 w 97"/>
                <a:gd name="T21" fmla="*/ 55 h 108"/>
                <a:gd name="T22" fmla="*/ 16 w 97"/>
                <a:gd name="T23" fmla="*/ 55 h 108"/>
                <a:gd name="T24" fmla="*/ 17 w 97"/>
                <a:gd name="T25" fmla="*/ 42 h 108"/>
                <a:gd name="T26" fmla="*/ 79 w 97"/>
                <a:gd name="T27" fmla="*/ 42 h 108"/>
                <a:gd name="T28" fmla="*/ 49 w 97"/>
                <a:gd name="T29" fmla="*/ 14 h 108"/>
                <a:gd name="T30" fmla="*/ 17 w 97"/>
                <a:gd name="T3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8">
                  <a:moveTo>
                    <a:pt x="16" y="55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16" y="63"/>
                    <a:pt x="17" y="68"/>
                    <a:pt x="19" y="72"/>
                  </a:cubicBezTo>
                  <a:cubicBezTo>
                    <a:pt x="25" y="86"/>
                    <a:pt x="36" y="94"/>
                    <a:pt x="55" y="94"/>
                  </a:cubicBezTo>
                  <a:cubicBezTo>
                    <a:pt x="65" y="94"/>
                    <a:pt x="78" y="90"/>
                    <a:pt x="88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81" y="105"/>
                    <a:pt x="66" y="108"/>
                    <a:pt x="55" y="108"/>
                  </a:cubicBezTo>
                  <a:cubicBezTo>
                    <a:pt x="19" y="108"/>
                    <a:pt x="0" y="90"/>
                    <a:pt x="0" y="53"/>
                  </a:cubicBezTo>
                  <a:cubicBezTo>
                    <a:pt x="0" y="24"/>
                    <a:pt x="17" y="0"/>
                    <a:pt x="48" y="0"/>
                  </a:cubicBezTo>
                  <a:cubicBezTo>
                    <a:pt x="83" y="0"/>
                    <a:pt x="96" y="24"/>
                    <a:pt x="97" y="55"/>
                  </a:cubicBezTo>
                  <a:lnTo>
                    <a:pt x="16" y="55"/>
                  </a:lnTo>
                  <a:close/>
                  <a:moveTo>
                    <a:pt x="17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8" y="26"/>
                    <a:pt x="67" y="14"/>
                    <a:pt x="49" y="14"/>
                  </a:cubicBezTo>
                  <a:cubicBezTo>
                    <a:pt x="30" y="14"/>
                    <a:pt x="20" y="24"/>
                    <a:pt x="17" y="42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7">
              <a:extLst>
                <a:ext uri="{FF2B5EF4-FFF2-40B4-BE49-F238E27FC236}">
                  <a16:creationId xmlns:a16="http://schemas.microsoft.com/office/drawing/2014/main" id="{4898EECF-F2F3-468D-B380-673B07C38A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41" y="2020"/>
              <a:ext cx="129" cy="189"/>
            </a:xfrm>
            <a:custGeom>
              <a:avLst/>
              <a:gdLst>
                <a:gd name="T0" fmla="*/ 0 w 129"/>
                <a:gd name="T1" fmla="*/ 189 h 189"/>
                <a:gd name="T2" fmla="*/ 0 w 129"/>
                <a:gd name="T3" fmla="*/ 0 h 189"/>
                <a:gd name="T4" fmla="*/ 129 w 129"/>
                <a:gd name="T5" fmla="*/ 0 h 189"/>
                <a:gd name="T6" fmla="*/ 129 w 129"/>
                <a:gd name="T7" fmla="*/ 19 h 189"/>
                <a:gd name="T8" fmla="*/ 22 w 129"/>
                <a:gd name="T9" fmla="*/ 19 h 189"/>
                <a:gd name="T10" fmla="*/ 22 w 129"/>
                <a:gd name="T11" fmla="*/ 83 h 189"/>
                <a:gd name="T12" fmla="*/ 121 w 129"/>
                <a:gd name="T13" fmla="*/ 83 h 189"/>
                <a:gd name="T14" fmla="*/ 121 w 129"/>
                <a:gd name="T15" fmla="*/ 102 h 189"/>
                <a:gd name="T16" fmla="*/ 22 w 129"/>
                <a:gd name="T17" fmla="*/ 102 h 189"/>
                <a:gd name="T18" fmla="*/ 22 w 129"/>
                <a:gd name="T19" fmla="*/ 170 h 189"/>
                <a:gd name="T20" fmla="*/ 129 w 129"/>
                <a:gd name="T21" fmla="*/ 170 h 189"/>
                <a:gd name="T22" fmla="*/ 129 w 129"/>
                <a:gd name="T23" fmla="*/ 189 h 189"/>
                <a:gd name="T24" fmla="*/ 0 w 129"/>
                <a:gd name="T25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89">
                  <a:moveTo>
                    <a:pt x="0" y="189"/>
                  </a:moveTo>
                  <a:lnTo>
                    <a:pt x="0" y="0"/>
                  </a:lnTo>
                  <a:lnTo>
                    <a:pt x="129" y="0"/>
                  </a:lnTo>
                  <a:lnTo>
                    <a:pt x="129" y="19"/>
                  </a:lnTo>
                  <a:lnTo>
                    <a:pt x="22" y="19"/>
                  </a:lnTo>
                  <a:lnTo>
                    <a:pt x="22" y="83"/>
                  </a:lnTo>
                  <a:lnTo>
                    <a:pt x="121" y="83"/>
                  </a:lnTo>
                  <a:lnTo>
                    <a:pt x="121" y="102"/>
                  </a:lnTo>
                  <a:lnTo>
                    <a:pt x="22" y="102"/>
                  </a:lnTo>
                  <a:lnTo>
                    <a:pt x="22" y="170"/>
                  </a:lnTo>
                  <a:lnTo>
                    <a:pt x="129" y="170"/>
                  </a:lnTo>
                  <a:lnTo>
                    <a:pt x="129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8">
              <a:extLst>
                <a:ext uri="{FF2B5EF4-FFF2-40B4-BE49-F238E27FC236}">
                  <a16:creationId xmlns:a16="http://schemas.microsoft.com/office/drawing/2014/main" id="{BFDD9270-6EEC-46D4-B2EA-B950C0B250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5" y="2074"/>
              <a:ext cx="101" cy="139"/>
            </a:xfrm>
            <a:custGeom>
              <a:avLst/>
              <a:gdLst>
                <a:gd name="T0" fmla="*/ 0 w 79"/>
                <a:gd name="T1" fmla="*/ 79 h 107"/>
                <a:gd name="T2" fmla="*/ 5 w 79"/>
                <a:gd name="T3" fmla="*/ 79 h 107"/>
                <a:gd name="T4" fmla="*/ 38 w 79"/>
                <a:gd name="T5" fmla="*/ 94 h 107"/>
                <a:gd name="T6" fmla="*/ 63 w 79"/>
                <a:gd name="T7" fmla="*/ 78 h 107"/>
                <a:gd name="T8" fmla="*/ 0 w 79"/>
                <a:gd name="T9" fmla="*/ 29 h 107"/>
                <a:gd name="T10" fmla="*/ 41 w 79"/>
                <a:gd name="T11" fmla="*/ 0 h 107"/>
                <a:gd name="T12" fmla="*/ 74 w 79"/>
                <a:gd name="T13" fmla="*/ 8 h 107"/>
                <a:gd name="T14" fmla="*/ 74 w 79"/>
                <a:gd name="T15" fmla="*/ 24 h 107"/>
                <a:gd name="T16" fmla="*/ 69 w 79"/>
                <a:gd name="T17" fmla="*/ 24 h 107"/>
                <a:gd name="T18" fmla="*/ 41 w 79"/>
                <a:gd name="T19" fmla="*/ 12 h 107"/>
                <a:gd name="T20" fmla="*/ 16 w 79"/>
                <a:gd name="T21" fmla="*/ 26 h 107"/>
                <a:gd name="T22" fmla="*/ 79 w 79"/>
                <a:gd name="T23" fmla="*/ 77 h 107"/>
                <a:gd name="T24" fmla="*/ 38 w 79"/>
                <a:gd name="T25" fmla="*/ 107 h 107"/>
                <a:gd name="T26" fmla="*/ 0 w 79"/>
                <a:gd name="T27" fmla="*/ 95 h 107"/>
                <a:gd name="T28" fmla="*/ 0 w 79"/>
                <a:gd name="T29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107">
                  <a:moveTo>
                    <a:pt x="0" y="79"/>
                  </a:moveTo>
                  <a:cubicBezTo>
                    <a:pt x="5" y="79"/>
                    <a:pt x="5" y="79"/>
                    <a:pt x="5" y="79"/>
                  </a:cubicBezTo>
                  <a:cubicBezTo>
                    <a:pt x="11" y="87"/>
                    <a:pt x="25" y="94"/>
                    <a:pt x="38" y="94"/>
                  </a:cubicBezTo>
                  <a:cubicBezTo>
                    <a:pt x="55" y="94"/>
                    <a:pt x="63" y="89"/>
                    <a:pt x="63" y="78"/>
                  </a:cubicBezTo>
                  <a:cubicBezTo>
                    <a:pt x="63" y="57"/>
                    <a:pt x="0" y="64"/>
                    <a:pt x="0" y="29"/>
                  </a:cubicBezTo>
                  <a:cubicBezTo>
                    <a:pt x="0" y="11"/>
                    <a:pt x="13" y="0"/>
                    <a:pt x="41" y="0"/>
                  </a:cubicBezTo>
                  <a:cubicBezTo>
                    <a:pt x="57" y="0"/>
                    <a:pt x="68" y="4"/>
                    <a:pt x="74" y="8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5" y="20"/>
                    <a:pt x="56" y="12"/>
                    <a:pt x="41" y="12"/>
                  </a:cubicBezTo>
                  <a:cubicBezTo>
                    <a:pt x="24" y="12"/>
                    <a:pt x="16" y="18"/>
                    <a:pt x="16" y="26"/>
                  </a:cubicBezTo>
                  <a:cubicBezTo>
                    <a:pt x="16" y="51"/>
                    <a:pt x="79" y="41"/>
                    <a:pt x="79" y="77"/>
                  </a:cubicBezTo>
                  <a:cubicBezTo>
                    <a:pt x="79" y="96"/>
                    <a:pt x="67" y="107"/>
                    <a:pt x="38" y="107"/>
                  </a:cubicBezTo>
                  <a:cubicBezTo>
                    <a:pt x="23" y="107"/>
                    <a:pt x="9" y="101"/>
                    <a:pt x="0" y="95"/>
                  </a:cubicBezTo>
                  <a:lnTo>
                    <a:pt x="0" y="79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:a16="http://schemas.microsoft.com/office/drawing/2014/main" id="{D2728335-C9E4-41F2-898D-A71B98408D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2030"/>
              <a:ext cx="72" cy="179"/>
            </a:xfrm>
            <a:custGeom>
              <a:avLst/>
              <a:gdLst>
                <a:gd name="T0" fmla="*/ 31 w 56"/>
                <a:gd name="T1" fmla="*/ 35 h 138"/>
                <a:gd name="T2" fmla="*/ 56 w 56"/>
                <a:gd name="T3" fmla="*/ 35 h 138"/>
                <a:gd name="T4" fmla="*/ 56 w 56"/>
                <a:gd name="T5" fmla="*/ 48 h 138"/>
                <a:gd name="T6" fmla="*/ 31 w 56"/>
                <a:gd name="T7" fmla="*/ 48 h 138"/>
                <a:gd name="T8" fmla="*/ 31 w 56"/>
                <a:gd name="T9" fmla="*/ 110 h 138"/>
                <a:gd name="T10" fmla="*/ 44 w 56"/>
                <a:gd name="T11" fmla="*/ 126 h 138"/>
                <a:gd name="T12" fmla="*/ 54 w 56"/>
                <a:gd name="T13" fmla="*/ 126 h 138"/>
                <a:gd name="T14" fmla="*/ 54 w 56"/>
                <a:gd name="T15" fmla="*/ 138 h 138"/>
                <a:gd name="T16" fmla="*/ 41 w 56"/>
                <a:gd name="T17" fmla="*/ 138 h 138"/>
                <a:gd name="T18" fmla="*/ 16 w 56"/>
                <a:gd name="T19" fmla="*/ 108 h 138"/>
                <a:gd name="T20" fmla="*/ 16 w 56"/>
                <a:gd name="T21" fmla="*/ 48 h 138"/>
                <a:gd name="T22" fmla="*/ 0 w 56"/>
                <a:gd name="T23" fmla="*/ 48 h 138"/>
                <a:gd name="T24" fmla="*/ 0 w 56"/>
                <a:gd name="T25" fmla="*/ 35 h 138"/>
                <a:gd name="T26" fmla="*/ 16 w 56"/>
                <a:gd name="T27" fmla="*/ 35 h 138"/>
                <a:gd name="T28" fmla="*/ 16 w 56"/>
                <a:gd name="T29" fmla="*/ 0 h 138"/>
                <a:gd name="T30" fmla="*/ 32 w 56"/>
                <a:gd name="T31" fmla="*/ 0 h 138"/>
                <a:gd name="T32" fmla="*/ 31 w 56"/>
                <a:gd name="T33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" h="138">
                  <a:moveTo>
                    <a:pt x="31" y="35"/>
                  </a:moveTo>
                  <a:cubicBezTo>
                    <a:pt x="56" y="35"/>
                    <a:pt x="56" y="35"/>
                    <a:pt x="56" y="35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110"/>
                    <a:pt x="31" y="110"/>
                    <a:pt x="31" y="110"/>
                  </a:cubicBezTo>
                  <a:cubicBezTo>
                    <a:pt x="31" y="123"/>
                    <a:pt x="36" y="126"/>
                    <a:pt x="44" y="126"/>
                  </a:cubicBezTo>
                  <a:cubicBezTo>
                    <a:pt x="54" y="126"/>
                    <a:pt x="54" y="126"/>
                    <a:pt x="54" y="126"/>
                  </a:cubicBezTo>
                  <a:cubicBezTo>
                    <a:pt x="54" y="138"/>
                    <a:pt x="54" y="138"/>
                    <a:pt x="54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24" y="138"/>
                    <a:pt x="15" y="132"/>
                    <a:pt x="16" y="10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1" y="35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:a16="http://schemas.microsoft.com/office/drawing/2014/main" id="{B7DB4142-13A8-4841-BE5C-9FE0B829524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203" y="2073"/>
              <a:ext cx="134" cy="140"/>
            </a:xfrm>
            <a:custGeom>
              <a:avLst/>
              <a:gdLst>
                <a:gd name="T0" fmla="*/ 51 w 104"/>
                <a:gd name="T1" fmla="*/ 0 h 108"/>
                <a:gd name="T2" fmla="*/ 104 w 104"/>
                <a:gd name="T3" fmla="*/ 53 h 108"/>
                <a:gd name="T4" fmla="*/ 51 w 104"/>
                <a:gd name="T5" fmla="*/ 108 h 108"/>
                <a:gd name="T6" fmla="*/ 0 w 104"/>
                <a:gd name="T7" fmla="*/ 54 h 108"/>
                <a:gd name="T8" fmla="*/ 51 w 104"/>
                <a:gd name="T9" fmla="*/ 0 h 108"/>
                <a:gd name="T10" fmla="*/ 51 w 104"/>
                <a:gd name="T11" fmla="*/ 94 h 108"/>
                <a:gd name="T12" fmla="*/ 87 w 104"/>
                <a:gd name="T13" fmla="*/ 54 h 108"/>
                <a:gd name="T14" fmla="*/ 51 w 104"/>
                <a:gd name="T15" fmla="*/ 13 h 108"/>
                <a:gd name="T16" fmla="*/ 16 w 104"/>
                <a:gd name="T17" fmla="*/ 54 h 108"/>
                <a:gd name="T18" fmla="*/ 51 w 104"/>
                <a:gd name="T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8">
                  <a:moveTo>
                    <a:pt x="51" y="0"/>
                  </a:moveTo>
                  <a:cubicBezTo>
                    <a:pt x="83" y="0"/>
                    <a:pt x="104" y="21"/>
                    <a:pt x="104" y="53"/>
                  </a:cubicBezTo>
                  <a:cubicBezTo>
                    <a:pt x="104" y="87"/>
                    <a:pt x="84" y="108"/>
                    <a:pt x="51" y="108"/>
                  </a:cubicBezTo>
                  <a:cubicBezTo>
                    <a:pt x="20" y="108"/>
                    <a:pt x="0" y="86"/>
                    <a:pt x="0" y="54"/>
                  </a:cubicBezTo>
                  <a:cubicBezTo>
                    <a:pt x="0" y="21"/>
                    <a:pt x="20" y="0"/>
                    <a:pt x="51" y="0"/>
                  </a:cubicBezTo>
                  <a:close/>
                  <a:moveTo>
                    <a:pt x="51" y="94"/>
                  </a:moveTo>
                  <a:cubicBezTo>
                    <a:pt x="71" y="94"/>
                    <a:pt x="87" y="79"/>
                    <a:pt x="87" y="54"/>
                  </a:cubicBezTo>
                  <a:cubicBezTo>
                    <a:pt x="87" y="28"/>
                    <a:pt x="72" y="13"/>
                    <a:pt x="51" y="13"/>
                  </a:cubicBezTo>
                  <a:cubicBezTo>
                    <a:pt x="33" y="13"/>
                    <a:pt x="16" y="28"/>
                    <a:pt x="16" y="54"/>
                  </a:cubicBezTo>
                  <a:cubicBezTo>
                    <a:pt x="16" y="79"/>
                    <a:pt x="33" y="94"/>
                    <a:pt x="51" y="94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:a16="http://schemas.microsoft.com/office/drawing/2014/main" id="{89F6BD9D-EB66-4554-92FC-3C3FDC4885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4" y="2074"/>
              <a:ext cx="119" cy="135"/>
            </a:xfrm>
            <a:custGeom>
              <a:avLst/>
              <a:gdLst>
                <a:gd name="T0" fmla="*/ 76 w 92"/>
                <a:gd name="T1" fmla="*/ 40 h 104"/>
                <a:gd name="T2" fmla="*/ 47 w 92"/>
                <a:gd name="T3" fmla="*/ 14 h 104"/>
                <a:gd name="T4" fmla="*/ 16 w 92"/>
                <a:gd name="T5" fmla="*/ 38 h 104"/>
                <a:gd name="T6" fmla="*/ 16 w 92"/>
                <a:gd name="T7" fmla="*/ 104 h 104"/>
                <a:gd name="T8" fmla="*/ 0 w 92"/>
                <a:gd name="T9" fmla="*/ 104 h 104"/>
                <a:gd name="T10" fmla="*/ 0 w 92"/>
                <a:gd name="T11" fmla="*/ 1 h 104"/>
                <a:gd name="T12" fmla="*/ 15 w 92"/>
                <a:gd name="T13" fmla="*/ 1 h 104"/>
                <a:gd name="T14" fmla="*/ 15 w 92"/>
                <a:gd name="T15" fmla="*/ 19 h 104"/>
                <a:gd name="T16" fmla="*/ 18 w 92"/>
                <a:gd name="T17" fmla="*/ 19 h 104"/>
                <a:gd name="T18" fmla="*/ 52 w 92"/>
                <a:gd name="T19" fmla="*/ 0 h 104"/>
                <a:gd name="T20" fmla="*/ 92 w 92"/>
                <a:gd name="T21" fmla="*/ 38 h 104"/>
                <a:gd name="T22" fmla="*/ 92 w 92"/>
                <a:gd name="T23" fmla="*/ 104 h 104"/>
                <a:gd name="T24" fmla="*/ 76 w 92"/>
                <a:gd name="T25" fmla="*/ 104 h 104"/>
                <a:gd name="T26" fmla="*/ 76 w 92"/>
                <a:gd name="T27" fmla="*/ 4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104">
                  <a:moveTo>
                    <a:pt x="76" y="40"/>
                  </a:moveTo>
                  <a:cubicBezTo>
                    <a:pt x="76" y="23"/>
                    <a:pt x="63" y="14"/>
                    <a:pt x="47" y="14"/>
                  </a:cubicBezTo>
                  <a:cubicBezTo>
                    <a:pt x="35" y="14"/>
                    <a:pt x="17" y="23"/>
                    <a:pt x="16" y="38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4" y="5"/>
                    <a:pt x="39" y="0"/>
                    <a:pt x="52" y="0"/>
                  </a:cubicBezTo>
                  <a:cubicBezTo>
                    <a:pt x="75" y="0"/>
                    <a:pt x="92" y="11"/>
                    <a:pt x="92" y="38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76" y="104"/>
                    <a:pt x="76" y="104"/>
                    <a:pt x="76" y="104"/>
                  </a:cubicBezTo>
                  <a:lnTo>
                    <a:pt x="76" y="40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:a16="http://schemas.microsoft.com/office/drawing/2014/main" id="{7D80413E-05F0-4D2B-B11E-772F8D9C95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16" y="2016"/>
              <a:ext cx="21" cy="193"/>
            </a:xfrm>
            <a:custGeom>
              <a:avLst/>
              <a:gdLst>
                <a:gd name="T0" fmla="*/ 0 w 21"/>
                <a:gd name="T1" fmla="*/ 27 h 193"/>
                <a:gd name="T2" fmla="*/ 0 w 21"/>
                <a:gd name="T3" fmla="*/ 0 h 193"/>
                <a:gd name="T4" fmla="*/ 21 w 21"/>
                <a:gd name="T5" fmla="*/ 0 h 193"/>
                <a:gd name="T6" fmla="*/ 21 w 21"/>
                <a:gd name="T7" fmla="*/ 27 h 193"/>
                <a:gd name="T8" fmla="*/ 0 w 21"/>
                <a:gd name="T9" fmla="*/ 27 h 193"/>
                <a:gd name="T10" fmla="*/ 0 w 21"/>
                <a:gd name="T11" fmla="*/ 193 h 193"/>
                <a:gd name="T12" fmla="*/ 0 w 21"/>
                <a:gd name="T13" fmla="*/ 60 h 193"/>
                <a:gd name="T14" fmla="*/ 21 w 21"/>
                <a:gd name="T15" fmla="*/ 60 h 193"/>
                <a:gd name="T16" fmla="*/ 21 w 21"/>
                <a:gd name="T17" fmla="*/ 193 h 193"/>
                <a:gd name="T18" fmla="*/ 0 w 21"/>
                <a:gd name="T1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93">
                  <a:moveTo>
                    <a:pt x="0" y="27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27"/>
                  </a:lnTo>
                  <a:lnTo>
                    <a:pt x="0" y="27"/>
                  </a:lnTo>
                  <a:close/>
                  <a:moveTo>
                    <a:pt x="0" y="193"/>
                  </a:moveTo>
                  <a:lnTo>
                    <a:pt x="0" y="60"/>
                  </a:lnTo>
                  <a:lnTo>
                    <a:pt x="21" y="60"/>
                  </a:lnTo>
                  <a:lnTo>
                    <a:pt x="21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191B2745-8AF2-4652-AA63-65AD87122B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565" y="2073"/>
              <a:ext cx="114" cy="140"/>
            </a:xfrm>
            <a:custGeom>
              <a:avLst/>
              <a:gdLst>
                <a:gd name="T0" fmla="*/ 72 w 88"/>
                <a:gd name="T1" fmla="*/ 93 h 108"/>
                <a:gd name="T2" fmla="*/ 69 w 88"/>
                <a:gd name="T3" fmla="*/ 93 h 108"/>
                <a:gd name="T4" fmla="*/ 36 w 88"/>
                <a:gd name="T5" fmla="*/ 108 h 108"/>
                <a:gd name="T6" fmla="*/ 0 w 88"/>
                <a:gd name="T7" fmla="*/ 77 h 108"/>
                <a:gd name="T8" fmla="*/ 40 w 88"/>
                <a:gd name="T9" fmla="*/ 42 h 108"/>
                <a:gd name="T10" fmla="*/ 70 w 88"/>
                <a:gd name="T11" fmla="*/ 37 h 108"/>
                <a:gd name="T12" fmla="*/ 71 w 88"/>
                <a:gd name="T13" fmla="*/ 34 h 108"/>
                <a:gd name="T14" fmla="*/ 44 w 88"/>
                <a:gd name="T15" fmla="*/ 15 h 108"/>
                <a:gd name="T16" fmla="*/ 11 w 88"/>
                <a:gd name="T17" fmla="*/ 28 h 108"/>
                <a:gd name="T18" fmla="*/ 8 w 88"/>
                <a:gd name="T19" fmla="*/ 28 h 108"/>
                <a:gd name="T20" fmla="*/ 8 w 88"/>
                <a:gd name="T21" fmla="*/ 14 h 108"/>
                <a:gd name="T22" fmla="*/ 45 w 88"/>
                <a:gd name="T23" fmla="*/ 0 h 108"/>
                <a:gd name="T24" fmla="*/ 88 w 88"/>
                <a:gd name="T25" fmla="*/ 41 h 108"/>
                <a:gd name="T26" fmla="*/ 88 w 88"/>
                <a:gd name="T27" fmla="*/ 105 h 108"/>
                <a:gd name="T28" fmla="*/ 72 w 88"/>
                <a:gd name="T29" fmla="*/ 105 h 108"/>
                <a:gd name="T30" fmla="*/ 72 w 88"/>
                <a:gd name="T31" fmla="*/ 93 h 108"/>
                <a:gd name="T32" fmla="*/ 72 w 88"/>
                <a:gd name="T33" fmla="*/ 73 h 108"/>
                <a:gd name="T34" fmla="*/ 72 w 88"/>
                <a:gd name="T35" fmla="*/ 51 h 108"/>
                <a:gd name="T36" fmla="*/ 46 w 88"/>
                <a:gd name="T37" fmla="*/ 56 h 108"/>
                <a:gd name="T38" fmla="*/ 17 w 88"/>
                <a:gd name="T39" fmla="*/ 77 h 108"/>
                <a:gd name="T40" fmla="*/ 42 w 88"/>
                <a:gd name="T41" fmla="*/ 94 h 108"/>
                <a:gd name="T42" fmla="*/ 72 w 88"/>
                <a:gd name="T43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8" h="108">
                  <a:moveTo>
                    <a:pt x="72" y="93"/>
                  </a:moveTo>
                  <a:cubicBezTo>
                    <a:pt x="69" y="93"/>
                    <a:pt x="69" y="93"/>
                    <a:pt x="69" y="93"/>
                  </a:cubicBezTo>
                  <a:cubicBezTo>
                    <a:pt x="61" y="103"/>
                    <a:pt x="50" y="108"/>
                    <a:pt x="36" y="108"/>
                  </a:cubicBezTo>
                  <a:cubicBezTo>
                    <a:pt x="15" y="108"/>
                    <a:pt x="0" y="95"/>
                    <a:pt x="0" y="77"/>
                  </a:cubicBezTo>
                  <a:cubicBezTo>
                    <a:pt x="0" y="56"/>
                    <a:pt x="16" y="48"/>
                    <a:pt x="40" y="42"/>
                  </a:cubicBezTo>
                  <a:cubicBezTo>
                    <a:pt x="47" y="40"/>
                    <a:pt x="63" y="38"/>
                    <a:pt x="70" y="37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68" y="23"/>
                    <a:pt x="58" y="15"/>
                    <a:pt x="44" y="15"/>
                  </a:cubicBezTo>
                  <a:cubicBezTo>
                    <a:pt x="29" y="15"/>
                    <a:pt x="20" y="19"/>
                    <a:pt x="11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17" y="6"/>
                    <a:pt x="28" y="0"/>
                    <a:pt x="45" y="0"/>
                  </a:cubicBezTo>
                  <a:cubicBezTo>
                    <a:pt x="72" y="0"/>
                    <a:pt x="88" y="16"/>
                    <a:pt x="88" y="41"/>
                  </a:cubicBezTo>
                  <a:cubicBezTo>
                    <a:pt x="88" y="64"/>
                    <a:pt x="88" y="82"/>
                    <a:pt x="88" y="105"/>
                  </a:cubicBezTo>
                  <a:cubicBezTo>
                    <a:pt x="72" y="105"/>
                    <a:pt x="72" y="105"/>
                    <a:pt x="72" y="105"/>
                  </a:cubicBezTo>
                  <a:lnTo>
                    <a:pt x="72" y="93"/>
                  </a:lnTo>
                  <a:close/>
                  <a:moveTo>
                    <a:pt x="72" y="73"/>
                  </a:moveTo>
                  <a:cubicBezTo>
                    <a:pt x="72" y="51"/>
                    <a:pt x="72" y="51"/>
                    <a:pt x="72" y="51"/>
                  </a:cubicBezTo>
                  <a:cubicBezTo>
                    <a:pt x="64" y="53"/>
                    <a:pt x="51" y="55"/>
                    <a:pt x="46" y="56"/>
                  </a:cubicBezTo>
                  <a:cubicBezTo>
                    <a:pt x="25" y="60"/>
                    <a:pt x="17" y="65"/>
                    <a:pt x="17" y="77"/>
                  </a:cubicBezTo>
                  <a:cubicBezTo>
                    <a:pt x="17" y="88"/>
                    <a:pt x="27" y="94"/>
                    <a:pt x="42" y="94"/>
                  </a:cubicBezTo>
                  <a:cubicBezTo>
                    <a:pt x="53" y="94"/>
                    <a:pt x="72" y="87"/>
                    <a:pt x="72" y="73"/>
                  </a:cubicBezTo>
                  <a:close/>
                </a:path>
              </a:pathLst>
            </a:custGeom>
            <a:solidFill>
              <a:srgbClr val="A7A9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888504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0E280CDB-5D20-4E03-AE6D-5BA66757F11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0102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094362D1-6041-4BB0-A063-CB977D746E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1205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99337B4A-4923-4EF3-8831-65F5E74D7B0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7251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D1083AFD-C3C4-4C4E-9D45-663C1357BD4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0228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D1083AFD-C3C4-4C4E-9D45-663C1357BD4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1934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F73E35-744B-44B8-8AF8-6185A19DB44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E762C6A-BA1D-4B63-B365-B1A46B1DB8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9E23D504-0A2A-4047-8825-F2DF92F82C6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825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Light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Picture Placeholder 75">
            <a:extLst>
              <a:ext uri="{FF2B5EF4-FFF2-40B4-BE49-F238E27FC236}">
                <a16:creationId xmlns:a16="http://schemas.microsoft.com/office/drawing/2014/main" id="{00206620-3FC5-4B9C-8EF2-A071D624A3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48501" y="659501"/>
            <a:ext cx="3473101" cy="2505974"/>
          </a:xfrm>
          <a:custGeom>
            <a:avLst/>
            <a:gdLst>
              <a:gd name="connsiteX0" fmla="*/ 1348260 w 3473101"/>
              <a:gd name="connsiteY0" fmla="*/ 0 h 2505974"/>
              <a:gd name="connsiteX1" fmla="*/ 2124379 w 3473101"/>
              <a:gd name="connsiteY1" fmla="*/ 0 h 2505974"/>
              <a:gd name="connsiteX2" fmla="*/ 2576708 w 3473101"/>
              <a:gd name="connsiteY2" fmla="*/ 106790 h 2505974"/>
              <a:gd name="connsiteX3" fmla="*/ 2913856 w 3473101"/>
              <a:gd name="connsiteY3" fmla="*/ 275333 h 2505974"/>
              <a:gd name="connsiteX4" fmla="*/ 3421033 w 3473101"/>
              <a:gd name="connsiteY4" fmla="*/ 1499845 h 2505974"/>
              <a:gd name="connsiteX5" fmla="*/ 3319404 w 3473101"/>
              <a:gd name="connsiteY5" fmla="*/ 1814411 h 2505974"/>
              <a:gd name="connsiteX6" fmla="*/ 2520414 w 3473101"/>
              <a:gd name="connsiteY6" fmla="*/ 2493287 h 2505974"/>
              <a:gd name="connsiteX7" fmla="*/ 2360991 w 3473101"/>
              <a:gd name="connsiteY7" fmla="*/ 2505974 h 2505974"/>
              <a:gd name="connsiteX8" fmla="*/ 1009289 w 3473101"/>
              <a:gd name="connsiteY8" fmla="*/ 2505974 h 2505974"/>
              <a:gd name="connsiteX9" fmla="*/ 907697 w 3473101"/>
              <a:gd name="connsiteY9" fmla="*/ 2500844 h 2505974"/>
              <a:gd name="connsiteX10" fmla="*/ 4885 w 3473101"/>
              <a:gd name="connsiteY10" fmla="*/ 1598033 h 2505974"/>
              <a:gd name="connsiteX11" fmla="*/ 0 w 3473101"/>
              <a:gd name="connsiteY11" fmla="*/ 1501293 h 2505974"/>
              <a:gd name="connsiteX12" fmla="*/ 0 w 3473101"/>
              <a:gd name="connsiteY12" fmla="*/ 1345189 h 2505974"/>
              <a:gd name="connsiteX13" fmla="*/ 19273 w 3473101"/>
              <a:gd name="connsiteY13" fmla="*/ 1150325 h 2505974"/>
              <a:gd name="connsiteX14" fmla="*/ 295903 w 3473101"/>
              <a:gd name="connsiteY14" fmla="*/ 633389 h 2505974"/>
              <a:gd name="connsiteX15" fmla="*/ 633052 w 3473101"/>
              <a:gd name="connsiteY15" fmla="*/ 296240 h 2505974"/>
              <a:gd name="connsiteX16" fmla="*/ 1348260 w 3473101"/>
              <a:gd name="connsiteY16" fmla="*/ 0 h 250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73101" h="2505974">
                <a:moveTo>
                  <a:pt x="1348260" y="0"/>
                </a:moveTo>
                <a:lnTo>
                  <a:pt x="2124379" y="0"/>
                </a:lnTo>
                <a:cubicBezTo>
                  <a:pt x="2281372" y="0"/>
                  <a:pt x="2436235" y="36522"/>
                  <a:pt x="2576708" y="106790"/>
                </a:cubicBezTo>
                <a:lnTo>
                  <a:pt x="2913856" y="275333"/>
                </a:lnTo>
                <a:cubicBezTo>
                  <a:pt x="3364055" y="500465"/>
                  <a:pt x="3580219" y="1022352"/>
                  <a:pt x="3421033" y="1499845"/>
                </a:cubicBezTo>
                <a:lnTo>
                  <a:pt x="3319404" y="1814411"/>
                </a:lnTo>
                <a:cubicBezTo>
                  <a:pt x="3198916" y="2175814"/>
                  <a:pt x="2887934" y="2434310"/>
                  <a:pt x="2520414" y="2493287"/>
                </a:cubicBezTo>
                <a:lnTo>
                  <a:pt x="2360991" y="2505974"/>
                </a:lnTo>
                <a:lnTo>
                  <a:pt x="1009289" y="2505974"/>
                </a:lnTo>
                <a:lnTo>
                  <a:pt x="907697" y="2500844"/>
                </a:lnTo>
                <a:cubicBezTo>
                  <a:pt x="431673" y="2452501"/>
                  <a:pt x="53229" y="2074057"/>
                  <a:pt x="4885" y="1598033"/>
                </a:cubicBezTo>
                <a:lnTo>
                  <a:pt x="0" y="1501293"/>
                </a:lnTo>
                <a:lnTo>
                  <a:pt x="0" y="1345189"/>
                </a:lnTo>
                <a:lnTo>
                  <a:pt x="19273" y="1150325"/>
                </a:lnTo>
                <a:cubicBezTo>
                  <a:pt x="58128" y="955891"/>
                  <a:pt x="153623" y="775621"/>
                  <a:pt x="295903" y="633389"/>
                </a:cubicBezTo>
                <a:lnTo>
                  <a:pt x="633052" y="296240"/>
                </a:lnTo>
                <a:cubicBezTo>
                  <a:pt x="822759" y="106533"/>
                  <a:pt x="1080024" y="0"/>
                  <a:pt x="134826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76">
            <a:extLst>
              <a:ext uri="{FF2B5EF4-FFF2-40B4-BE49-F238E27FC236}">
                <a16:creationId xmlns:a16="http://schemas.microsoft.com/office/drawing/2014/main" id="{2BF2708C-642F-4768-BAD8-F6B3AA238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65008" y="3196422"/>
            <a:ext cx="4388823" cy="3038631"/>
          </a:xfrm>
          <a:custGeom>
            <a:avLst/>
            <a:gdLst>
              <a:gd name="connsiteX0" fmla="*/ 1519143 w 4388823"/>
              <a:gd name="connsiteY0" fmla="*/ 0 h 3038631"/>
              <a:gd name="connsiteX1" fmla="*/ 2869539 w 4388823"/>
              <a:gd name="connsiteY1" fmla="*/ 0 h 3038631"/>
              <a:gd name="connsiteX2" fmla="*/ 3585785 w 4388823"/>
              <a:gd name="connsiteY2" fmla="*/ 296696 h 3038631"/>
              <a:gd name="connsiteX3" fmla="*/ 4092192 w 4388823"/>
              <a:gd name="connsiteY3" fmla="*/ 803165 h 3038631"/>
              <a:gd name="connsiteX4" fmla="*/ 4388823 w 4388823"/>
              <a:gd name="connsiteY4" fmla="*/ 1519347 h 3038631"/>
              <a:gd name="connsiteX5" fmla="*/ 4388823 w 4388823"/>
              <a:gd name="connsiteY5" fmla="*/ 2025754 h 3038631"/>
              <a:gd name="connsiteX6" fmla="*/ 3375947 w 4388823"/>
              <a:gd name="connsiteY6" fmla="*/ 3038631 h 3038631"/>
              <a:gd name="connsiteX7" fmla="*/ 1519143 w 4388823"/>
              <a:gd name="connsiteY7" fmla="*/ 3038631 h 3038631"/>
              <a:gd name="connsiteX8" fmla="*/ 803087 w 4388823"/>
              <a:gd name="connsiteY8" fmla="*/ 2742063 h 3038631"/>
              <a:gd name="connsiteX9" fmla="*/ 296616 w 4388823"/>
              <a:gd name="connsiteY9" fmla="*/ 2235593 h 3038631"/>
              <a:gd name="connsiteX10" fmla="*/ 296616 w 4388823"/>
              <a:gd name="connsiteY10" fmla="*/ 803165 h 3038631"/>
              <a:gd name="connsiteX11" fmla="*/ 803087 w 4388823"/>
              <a:gd name="connsiteY11" fmla="*/ 296696 h 3038631"/>
              <a:gd name="connsiteX12" fmla="*/ 1519143 w 4388823"/>
              <a:gd name="connsiteY12" fmla="*/ 0 h 3038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88823" h="3038631">
                <a:moveTo>
                  <a:pt x="1519143" y="0"/>
                </a:moveTo>
                <a:lnTo>
                  <a:pt x="2869539" y="0"/>
                </a:lnTo>
                <a:cubicBezTo>
                  <a:pt x="3138171" y="0"/>
                  <a:pt x="3395755" y="106792"/>
                  <a:pt x="3585785" y="296696"/>
                </a:cubicBezTo>
                <a:lnTo>
                  <a:pt x="4092192" y="803165"/>
                </a:lnTo>
                <a:cubicBezTo>
                  <a:pt x="4282095" y="993132"/>
                  <a:pt x="4388823" y="1250778"/>
                  <a:pt x="4388823" y="1519347"/>
                </a:cubicBezTo>
                <a:lnTo>
                  <a:pt x="4388823" y="2025754"/>
                </a:lnTo>
                <a:cubicBezTo>
                  <a:pt x="4388823" y="2585176"/>
                  <a:pt x="3935304" y="3038631"/>
                  <a:pt x="3375947" y="3038631"/>
                </a:cubicBezTo>
                <a:lnTo>
                  <a:pt x="1519143" y="3038631"/>
                </a:lnTo>
                <a:cubicBezTo>
                  <a:pt x="1250574" y="3038631"/>
                  <a:pt x="992989" y="2931902"/>
                  <a:pt x="803087" y="2742063"/>
                </a:cubicBezTo>
                <a:lnTo>
                  <a:pt x="296616" y="2235593"/>
                </a:lnTo>
                <a:cubicBezTo>
                  <a:pt x="-98871" y="1840042"/>
                  <a:pt x="-98871" y="1198780"/>
                  <a:pt x="296616" y="803165"/>
                </a:cubicBezTo>
                <a:lnTo>
                  <a:pt x="803087" y="296696"/>
                </a:lnTo>
                <a:cubicBezTo>
                  <a:pt x="992926" y="106792"/>
                  <a:pt x="1250574" y="0"/>
                  <a:pt x="1519143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FBDE4E5-EED2-45D1-80FB-7BA6B76603E0}"/>
              </a:ext>
            </a:extLst>
          </p:cNvPr>
          <p:cNvSpPr/>
          <p:nvPr userDrawn="1"/>
        </p:nvSpPr>
        <p:spPr>
          <a:xfrm>
            <a:off x="5767003" y="5664563"/>
            <a:ext cx="570489" cy="57048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130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pic>
        <p:nvPicPr>
          <p:cNvPr id="4" name="Pilt 3">
            <a:extLst>
              <a:ext uri="{FF2B5EF4-FFF2-40B4-BE49-F238E27FC236}">
                <a16:creationId xmlns:a16="http://schemas.microsoft.com/office/drawing/2014/main" id="{F7557E13-7323-43CB-8697-929E891FB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101" y="5410200"/>
            <a:ext cx="1489011" cy="827089"/>
          </a:xfrm>
          <a:prstGeom prst="rect">
            <a:avLst/>
          </a:prstGeom>
        </p:spPr>
      </p:pic>
      <p:sp>
        <p:nvSpPr>
          <p:cNvPr id="5" name="Freeform 5">
            <a:extLst>
              <a:ext uri="{FF2B5EF4-FFF2-40B4-BE49-F238E27FC236}">
                <a16:creationId xmlns:a16="http://schemas.microsoft.com/office/drawing/2014/main" id="{B3A554A6-B683-4538-9C31-2FE63ACC788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5080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_Tit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26E22F4-7000-4904-A79C-A24ACA08C0E4}"/>
              </a:ext>
            </a:extLst>
          </p:cNvPr>
          <p:cNvSpPr txBox="1"/>
          <p:nvPr userDrawn="1"/>
        </p:nvSpPr>
        <p:spPr>
          <a:xfrm>
            <a:off x="623889" y="658801"/>
            <a:ext cx="4243386" cy="8842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dirty="0">
                <a:solidFill>
                  <a:schemeClr val="bg1"/>
                </a:solidFill>
                <a:latin typeface="+mj-lt"/>
              </a:rPr>
              <a:t>Hello!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D321AF2-2354-45D7-A71C-6ABF961BCF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7" y="3429000"/>
            <a:ext cx="4964112" cy="2808288"/>
          </a:xfrm>
        </p:spPr>
        <p:txBody>
          <a:bodyPr wrap="square" bIns="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12" name="Teksti kohatäide 3">
            <a:extLst>
              <a:ext uri="{FF2B5EF4-FFF2-40B4-BE49-F238E27FC236}">
                <a16:creationId xmlns:a16="http://schemas.microsoft.com/office/drawing/2014/main" id="{EDDBAD18-C3DD-4E53-BC6C-0BC0923EC9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1" y="3429000"/>
            <a:ext cx="4964112" cy="2808288"/>
          </a:xfrm>
        </p:spPr>
        <p:txBody>
          <a:bodyPr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6B1F16-A6F5-4DCC-A452-D5018E125DDF}"/>
              </a:ext>
            </a:extLst>
          </p:cNvPr>
          <p:cNvSpPr txBox="1"/>
          <p:nvPr userDrawn="1"/>
        </p:nvSpPr>
        <p:spPr>
          <a:xfrm>
            <a:off x="6096000" y="0"/>
            <a:ext cx="5832475" cy="6572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</a:rPr>
              <a:t>THIS IS AN INSTRUCTION SLIDE – DELETE BEFORE FINALISING YOUR PRESENTATION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5F31B2E-7FF5-403E-9CB3-3F9CDDBAC2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1633439"/>
            <a:ext cx="9446704" cy="1795561"/>
          </a:xfrm>
        </p:spPr>
        <p:txBody>
          <a:bodyPr bIns="0" anchor="t" anchorCtr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324565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White_Half-Image-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ldi kohatäide 3">
            <a:extLst>
              <a:ext uri="{FF2B5EF4-FFF2-40B4-BE49-F238E27FC236}">
                <a16:creationId xmlns:a16="http://schemas.microsoft.com/office/drawing/2014/main" id="{A1F15EB4-2BA8-4FAB-9FDD-CE1746C11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solidFill>
            <a:srgbClr val="2B7AA1"/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3701" y="658801"/>
            <a:ext cx="5184775" cy="161767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743701" y="2276476"/>
            <a:ext cx="5184775" cy="3960813"/>
          </a:xfrm>
        </p:spPr>
        <p:txBody>
          <a:bodyPr wrap="square" bIns="0"/>
          <a:lstStyle>
            <a:lvl1pPr>
              <a:buClr>
                <a:schemeClr val="accent1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46CE165-5786-4FD8-B859-19F1A06E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3429000"/>
            <a:ext cx="360363" cy="2808288"/>
          </a:xfrm>
        </p:spPr>
        <p:txBody>
          <a:bodyPr vert="vert270" bIns="0" anchor="t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0" indent="0">
              <a:buNone/>
              <a:defRPr sz="800">
                <a:solidFill>
                  <a:schemeClr val="bg1"/>
                </a:solidFill>
              </a:defRPr>
            </a:lvl2pPr>
            <a:lvl3pPr marL="361942" indent="0">
              <a:buNone/>
              <a:defRPr sz="800">
                <a:solidFill>
                  <a:schemeClr val="bg1"/>
                </a:solidFill>
              </a:defRPr>
            </a:lvl3pPr>
            <a:lvl4pPr marL="542912" indent="0">
              <a:buNone/>
              <a:defRPr sz="800">
                <a:solidFill>
                  <a:schemeClr val="bg1"/>
                </a:solidFill>
              </a:defRPr>
            </a:lvl4pPr>
            <a:lvl5pPr marL="714357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6352658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Blue">
    <p:bg>
      <p:bgPr>
        <a:solidFill>
          <a:srgbClr val="000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7559676" cy="161767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7559676" cy="2808288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FD47A815-62B2-4B87-9313-8A2B500FE6B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512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aslaid_foto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2B7AA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72113" cy="16176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3429000"/>
          </a:xfrm>
        </p:spPr>
        <p:txBody>
          <a:bodyPr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507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Light_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icture Placeholder 74">
            <a:extLst>
              <a:ext uri="{FF2B5EF4-FFF2-40B4-BE49-F238E27FC236}">
                <a16:creationId xmlns:a16="http://schemas.microsoft.com/office/drawing/2014/main" id="{DC7BEA8D-7CE6-4EE6-AC4C-CF7E9749379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62464" y="1628775"/>
            <a:ext cx="6774657" cy="4606277"/>
          </a:xfrm>
          <a:custGeom>
            <a:avLst/>
            <a:gdLst>
              <a:gd name="connsiteX0" fmla="*/ 3614631 w 8224014"/>
              <a:gd name="connsiteY0" fmla="*/ 0 h 5591735"/>
              <a:gd name="connsiteX1" fmla="*/ 5598498 w 8224014"/>
              <a:gd name="connsiteY1" fmla="*/ 0 h 5591735"/>
              <a:gd name="connsiteX2" fmla="*/ 5715308 w 8224014"/>
              <a:gd name="connsiteY2" fmla="*/ 3620 h 5591735"/>
              <a:gd name="connsiteX3" fmla="*/ 7234371 w 8224014"/>
              <a:gd name="connsiteY3" fmla="*/ 878448 h 5591735"/>
              <a:gd name="connsiteX4" fmla="*/ 7892519 w 8224014"/>
              <a:gd name="connsiteY4" fmla="*/ 1865547 h 5591735"/>
              <a:gd name="connsiteX5" fmla="*/ 8015651 w 8224014"/>
              <a:gd name="connsiteY5" fmla="*/ 3842845 h 5591735"/>
              <a:gd name="connsiteX6" fmla="*/ 7686700 w 8224014"/>
              <a:gd name="connsiteY6" fmla="*/ 4500829 h 5591735"/>
              <a:gd name="connsiteX7" fmla="*/ 5921501 w 8224014"/>
              <a:gd name="connsiteY7" fmla="*/ 5591735 h 5591735"/>
              <a:gd name="connsiteX8" fmla="*/ 2632066 w 8224014"/>
              <a:gd name="connsiteY8" fmla="*/ 5591735 h 5591735"/>
              <a:gd name="connsiteX9" fmla="*/ 989673 w 8224014"/>
              <a:gd name="connsiteY9" fmla="*/ 4713009 h 5591735"/>
              <a:gd name="connsiteX10" fmla="*/ 331770 w 8224014"/>
              <a:gd name="connsiteY10" fmla="*/ 3726317 h 5591735"/>
              <a:gd name="connsiteX11" fmla="*/ 141038 w 8224014"/>
              <a:gd name="connsiteY11" fmla="*/ 3363735 h 5591735"/>
              <a:gd name="connsiteX12" fmla="*/ 5609 w 8224014"/>
              <a:gd name="connsiteY12" fmla="*/ 2785901 h 5591735"/>
              <a:gd name="connsiteX13" fmla="*/ 0 w 8224014"/>
              <a:gd name="connsiteY13" fmla="*/ 2595225 h 5591735"/>
              <a:gd name="connsiteX14" fmla="*/ 0 w 8224014"/>
              <a:gd name="connsiteY14" fmla="*/ 2591929 h 5591735"/>
              <a:gd name="connsiteX15" fmla="*/ 13067 w 8224014"/>
              <a:gd name="connsiteY15" fmla="*/ 2401893 h 5591735"/>
              <a:gd name="connsiteX16" fmla="*/ 1240994 w 8224014"/>
              <a:gd name="connsiteY16" fmla="*/ 798860 h 5591735"/>
              <a:gd name="connsiteX17" fmla="*/ 2885752 w 8224014"/>
              <a:gd name="connsiteY17" fmla="*/ 141038 h 5591735"/>
              <a:gd name="connsiteX18" fmla="*/ 3431078 w 8224014"/>
              <a:gd name="connsiteY18" fmla="*/ 8759 h 559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224014" h="5591735">
                <a:moveTo>
                  <a:pt x="3614631" y="0"/>
                </a:moveTo>
                <a:lnTo>
                  <a:pt x="5598498" y="0"/>
                </a:lnTo>
                <a:lnTo>
                  <a:pt x="5715308" y="3620"/>
                </a:lnTo>
                <a:cubicBezTo>
                  <a:pt x="6328084" y="41760"/>
                  <a:pt x="6891179" y="363728"/>
                  <a:pt x="7234371" y="878448"/>
                </a:cubicBezTo>
                <a:lnTo>
                  <a:pt x="7892519" y="1865547"/>
                </a:lnTo>
                <a:cubicBezTo>
                  <a:pt x="8285402" y="2454800"/>
                  <a:pt x="8332393" y="3209402"/>
                  <a:pt x="8015651" y="3842845"/>
                </a:cubicBezTo>
                <a:lnTo>
                  <a:pt x="7686700" y="4500829"/>
                </a:lnTo>
                <a:cubicBezTo>
                  <a:pt x="7352413" y="5169447"/>
                  <a:pt x="6669028" y="5591784"/>
                  <a:pt x="5921501" y="5591735"/>
                </a:cubicBezTo>
                <a:lnTo>
                  <a:pt x="2632066" y="5591735"/>
                </a:lnTo>
                <a:cubicBezTo>
                  <a:pt x="1972108" y="5591887"/>
                  <a:pt x="1355759" y="5262123"/>
                  <a:pt x="989673" y="4713009"/>
                </a:cubicBezTo>
                <a:lnTo>
                  <a:pt x="331770" y="3726317"/>
                </a:lnTo>
                <a:cubicBezTo>
                  <a:pt x="255785" y="3612401"/>
                  <a:pt x="191863" y="3490885"/>
                  <a:pt x="141038" y="3363735"/>
                </a:cubicBezTo>
                <a:cubicBezTo>
                  <a:pt x="65190" y="3173982"/>
                  <a:pt x="20876" y="2979437"/>
                  <a:pt x="5609" y="2785901"/>
                </a:cubicBezTo>
                <a:lnTo>
                  <a:pt x="0" y="2595225"/>
                </a:lnTo>
                <a:lnTo>
                  <a:pt x="0" y="2591929"/>
                </a:lnTo>
                <a:lnTo>
                  <a:pt x="13067" y="2401893"/>
                </a:lnTo>
                <a:cubicBezTo>
                  <a:pt x="95041" y="1706649"/>
                  <a:pt x="545234" y="1076972"/>
                  <a:pt x="1240994" y="798860"/>
                </a:cubicBezTo>
                <a:lnTo>
                  <a:pt x="2885752" y="141038"/>
                </a:lnTo>
                <a:cubicBezTo>
                  <a:pt x="3060596" y="71075"/>
                  <a:pt x="3244249" y="26620"/>
                  <a:pt x="3431078" y="8759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805179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Whit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CC25C14-4D00-4EC5-97D8-4A31899EAC0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76324" y="2"/>
            <a:ext cx="6315676" cy="6857999"/>
          </a:xfrm>
          <a:custGeom>
            <a:avLst/>
            <a:gdLst>
              <a:gd name="connsiteX0" fmla="*/ 3428610 w 6315676"/>
              <a:gd name="connsiteY0" fmla="*/ 0 h 6857999"/>
              <a:gd name="connsiteX1" fmla="*/ 6315676 w 6315676"/>
              <a:gd name="connsiteY1" fmla="*/ 0 h 6857999"/>
              <a:gd name="connsiteX2" fmla="*/ 6315676 w 6315676"/>
              <a:gd name="connsiteY2" fmla="*/ 6857999 h 6857999"/>
              <a:gd name="connsiteX3" fmla="*/ 3428590 w 6315676"/>
              <a:gd name="connsiteY3" fmla="*/ 6857999 h 6857999"/>
              <a:gd name="connsiteX4" fmla="*/ 3202718 w 6315676"/>
              <a:gd name="connsiteY4" fmla="*/ 6846813 h 6857999"/>
              <a:gd name="connsiteX5" fmla="*/ 1812516 w 6315676"/>
              <a:gd name="connsiteY5" fmla="*/ 6188665 h 6857999"/>
              <a:gd name="connsiteX6" fmla="*/ 669443 w 6315676"/>
              <a:gd name="connsiteY6" fmla="*/ 5045594 h 6857999"/>
              <a:gd name="connsiteX7" fmla="*/ 669443 w 6315676"/>
              <a:gd name="connsiteY7" fmla="*/ 1812693 h 6857999"/>
              <a:gd name="connsiteX8" fmla="*/ 1812516 w 6315676"/>
              <a:gd name="connsiteY8" fmla="*/ 669624 h 6857999"/>
              <a:gd name="connsiteX9" fmla="*/ 3428610 w 6315676"/>
              <a:gd name="connsiteY9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15676" h="6857999">
                <a:moveTo>
                  <a:pt x="3428610" y="0"/>
                </a:moveTo>
                <a:lnTo>
                  <a:pt x="6315676" y="0"/>
                </a:lnTo>
                <a:lnTo>
                  <a:pt x="6315676" y="6857999"/>
                </a:lnTo>
                <a:lnTo>
                  <a:pt x="3428590" y="6857999"/>
                </a:lnTo>
                <a:lnTo>
                  <a:pt x="3202718" y="6846813"/>
                </a:lnTo>
                <a:cubicBezTo>
                  <a:pt x="2679515" y="6794849"/>
                  <a:pt x="2187539" y="6563563"/>
                  <a:pt x="1812516" y="6188665"/>
                </a:cubicBezTo>
                <a:lnTo>
                  <a:pt x="669443" y="5045594"/>
                </a:lnTo>
                <a:cubicBezTo>
                  <a:pt x="-223147" y="4152860"/>
                  <a:pt x="-223147" y="2705572"/>
                  <a:pt x="669443" y="1812693"/>
                </a:cubicBezTo>
                <a:lnTo>
                  <a:pt x="1812516" y="669624"/>
                </a:lnTo>
                <a:cubicBezTo>
                  <a:pt x="2240971" y="241023"/>
                  <a:pt x="2822466" y="0"/>
                  <a:pt x="3428610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1568113" y="3429000"/>
            <a:ext cx="360362" cy="2808288"/>
          </a:xfrm>
        </p:spPr>
        <p:txBody>
          <a:bodyPr vert="vert270" bIns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 sz="800">
                <a:solidFill>
                  <a:schemeClr val="bg1"/>
                </a:solidFill>
              </a:defRPr>
            </a:lvl2pPr>
            <a:lvl3pPr marL="361950" indent="0">
              <a:buNone/>
              <a:defRPr sz="800">
                <a:solidFill>
                  <a:schemeClr val="bg1"/>
                </a:solidFill>
              </a:defRPr>
            </a:lvl3pPr>
            <a:lvl4pPr marL="542925" indent="0">
              <a:buNone/>
              <a:defRPr sz="800">
                <a:solidFill>
                  <a:schemeClr val="bg1"/>
                </a:solidFill>
              </a:defRPr>
            </a:lvl4pPr>
            <a:lvl5pPr marL="714375" indent="0"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© Copyright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140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Boulder_Whit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658801"/>
            <a:ext cx="5441121" cy="2770198"/>
          </a:xfrm>
        </p:spPr>
        <p:txBody>
          <a:bodyPr/>
          <a:lstStyle>
            <a:lvl1pPr>
              <a:lnSpc>
                <a:spcPct val="9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3887" y="3429001"/>
            <a:ext cx="5472113" cy="2808287"/>
          </a:xfrm>
        </p:spPr>
        <p:txBody>
          <a:bodyPr bIns="0"/>
          <a:lstStyle>
            <a:lvl1pPr marL="0" indent="0">
              <a:spcBef>
                <a:spcPts val="200"/>
              </a:spcBef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018D534-6ACE-4A08-BA33-26B22DB86F9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46544" y="229462"/>
            <a:ext cx="1427956" cy="441244"/>
          </a:xfrm>
          <a:custGeom>
            <a:avLst/>
            <a:gdLst>
              <a:gd name="T0" fmla="*/ 1618 w 1847"/>
              <a:gd name="T1" fmla="*/ 546 h 571"/>
              <a:gd name="T2" fmla="*/ 1612 w 1847"/>
              <a:gd name="T3" fmla="*/ 487 h 571"/>
              <a:gd name="T4" fmla="*/ 376 w 1847"/>
              <a:gd name="T5" fmla="*/ 304 h 571"/>
              <a:gd name="T6" fmla="*/ 540 w 1847"/>
              <a:gd name="T7" fmla="*/ 302 h 571"/>
              <a:gd name="T8" fmla="*/ 513 w 1847"/>
              <a:gd name="T9" fmla="*/ 266 h 571"/>
              <a:gd name="T10" fmla="*/ 456 w 1847"/>
              <a:gd name="T11" fmla="*/ 323 h 571"/>
              <a:gd name="T12" fmla="*/ 492 w 1847"/>
              <a:gd name="T13" fmla="*/ 349 h 571"/>
              <a:gd name="T14" fmla="*/ 1643 w 1847"/>
              <a:gd name="T15" fmla="*/ 517 h 571"/>
              <a:gd name="T16" fmla="*/ 1481 w 1847"/>
              <a:gd name="T17" fmla="*/ 507 h 571"/>
              <a:gd name="T18" fmla="*/ 1471 w 1847"/>
              <a:gd name="T19" fmla="*/ 546 h 571"/>
              <a:gd name="T20" fmla="*/ 34 w 1847"/>
              <a:gd name="T21" fmla="*/ 469 h 571"/>
              <a:gd name="T22" fmla="*/ 105 w 1847"/>
              <a:gd name="T23" fmla="*/ 275 h 571"/>
              <a:gd name="T24" fmla="*/ 82 w 1847"/>
              <a:gd name="T25" fmla="*/ 322 h 571"/>
              <a:gd name="T26" fmla="*/ 142 w 1847"/>
              <a:gd name="T27" fmla="*/ 184 h 571"/>
              <a:gd name="T28" fmla="*/ 69 w 1847"/>
              <a:gd name="T29" fmla="*/ 232 h 571"/>
              <a:gd name="T30" fmla="*/ 1710 w 1847"/>
              <a:gd name="T31" fmla="*/ 0 h 571"/>
              <a:gd name="T32" fmla="*/ 1712 w 1847"/>
              <a:gd name="T33" fmla="*/ 380 h 571"/>
              <a:gd name="T34" fmla="*/ 1836 w 1847"/>
              <a:gd name="T35" fmla="*/ 507 h 571"/>
              <a:gd name="T36" fmla="*/ 1846 w 1847"/>
              <a:gd name="T37" fmla="*/ 509 h 571"/>
              <a:gd name="T38" fmla="*/ 1837 w 1847"/>
              <a:gd name="T39" fmla="*/ 528 h 571"/>
              <a:gd name="T40" fmla="*/ 465 w 1847"/>
              <a:gd name="T41" fmla="*/ 217 h 571"/>
              <a:gd name="T42" fmla="*/ 429 w 1847"/>
              <a:gd name="T43" fmla="*/ 191 h 571"/>
              <a:gd name="T44" fmla="*/ 1716 w 1847"/>
              <a:gd name="T45" fmla="*/ 546 h 571"/>
              <a:gd name="T46" fmla="*/ 1270 w 1847"/>
              <a:gd name="T47" fmla="*/ 497 h 571"/>
              <a:gd name="T48" fmla="*/ 1291 w 1847"/>
              <a:gd name="T49" fmla="*/ 495 h 571"/>
              <a:gd name="T50" fmla="*/ 1302 w 1847"/>
              <a:gd name="T51" fmla="*/ 546 h 571"/>
              <a:gd name="T52" fmla="*/ 1536 w 1847"/>
              <a:gd name="T53" fmla="*/ 373 h 571"/>
              <a:gd name="T54" fmla="*/ 1371 w 1847"/>
              <a:gd name="T55" fmla="*/ 58 h 571"/>
              <a:gd name="T56" fmla="*/ 1189 w 1847"/>
              <a:gd name="T57" fmla="*/ 571 h 571"/>
              <a:gd name="T58" fmla="*/ 1198 w 1847"/>
              <a:gd name="T59" fmla="*/ 527 h 571"/>
              <a:gd name="T60" fmla="*/ 1302 w 1847"/>
              <a:gd name="T61" fmla="*/ 460 h 571"/>
              <a:gd name="T62" fmla="*/ 1431 w 1847"/>
              <a:gd name="T63" fmla="*/ 533 h 571"/>
              <a:gd name="T64" fmla="*/ 1390 w 1847"/>
              <a:gd name="T65" fmla="*/ 510 h 571"/>
              <a:gd name="T66" fmla="*/ 1326 w 1847"/>
              <a:gd name="T67" fmla="*/ 503 h 571"/>
              <a:gd name="T68" fmla="*/ 1335 w 1847"/>
              <a:gd name="T69" fmla="*/ 501 h 571"/>
              <a:gd name="T70" fmla="*/ 921 w 1847"/>
              <a:gd name="T71" fmla="*/ 499 h 571"/>
              <a:gd name="T72" fmla="*/ 1158 w 1847"/>
              <a:gd name="T73" fmla="*/ 487 h 571"/>
              <a:gd name="T74" fmla="*/ 1172 w 1847"/>
              <a:gd name="T75" fmla="*/ 486 h 571"/>
              <a:gd name="T76" fmla="*/ 257 w 1847"/>
              <a:gd name="T77" fmla="*/ 332 h 571"/>
              <a:gd name="T78" fmla="*/ 530 w 1847"/>
              <a:gd name="T79" fmla="*/ 564 h 571"/>
              <a:gd name="T80" fmla="*/ 577 w 1847"/>
              <a:gd name="T81" fmla="*/ 118 h 571"/>
              <a:gd name="T82" fmla="*/ 550 w 1847"/>
              <a:gd name="T83" fmla="*/ 154 h 571"/>
              <a:gd name="T84" fmla="*/ 516 w 1847"/>
              <a:gd name="T85" fmla="*/ 83 h 571"/>
              <a:gd name="T86" fmla="*/ 400 w 1847"/>
              <a:gd name="T87" fmla="*/ 196 h 571"/>
              <a:gd name="T88" fmla="*/ 344 w 1847"/>
              <a:gd name="T89" fmla="*/ 180 h 571"/>
              <a:gd name="T90" fmla="*/ 339 w 1847"/>
              <a:gd name="T91" fmla="*/ 424 h 571"/>
              <a:gd name="T92" fmla="*/ 371 w 1847"/>
              <a:gd name="T93" fmla="*/ 386 h 571"/>
              <a:gd name="T94" fmla="*/ 273 w 1847"/>
              <a:gd name="T95" fmla="*/ 215 h 571"/>
              <a:gd name="T96" fmla="*/ 385 w 1847"/>
              <a:gd name="T97" fmla="*/ 331 h 571"/>
              <a:gd name="T98" fmla="*/ 400 w 1847"/>
              <a:gd name="T99" fmla="*/ 452 h 571"/>
              <a:gd name="T100" fmla="*/ 613 w 1847"/>
              <a:gd name="T101" fmla="*/ 396 h 571"/>
              <a:gd name="T102" fmla="*/ 582 w 1847"/>
              <a:gd name="T103" fmla="*/ 358 h 571"/>
              <a:gd name="T104" fmla="*/ 647 w 1847"/>
              <a:gd name="T105" fmla="*/ 318 h 571"/>
              <a:gd name="T106" fmla="*/ 530 w 1847"/>
              <a:gd name="T107" fmla="*/ 212 h 571"/>
              <a:gd name="T108" fmla="*/ 953 w 1847"/>
              <a:gd name="T109" fmla="*/ 166 h 571"/>
              <a:gd name="T110" fmla="*/ 1011 w 1847"/>
              <a:gd name="T111" fmla="*/ 486 h 571"/>
              <a:gd name="T112" fmla="*/ 1008 w 1847"/>
              <a:gd name="T113" fmla="*/ 494 h 571"/>
              <a:gd name="T114" fmla="*/ 1081 w 1847"/>
              <a:gd name="T115" fmla="*/ 516 h 571"/>
              <a:gd name="T116" fmla="*/ 1090 w 1847"/>
              <a:gd name="T117" fmla="*/ 517 h 571"/>
              <a:gd name="T118" fmla="*/ 1582 w 1847"/>
              <a:gd name="T119" fmla="*/ 500 h 571"/>
              <a:gd name="T120" fmla="*/ 1542 w 1847"/>
              <a:gd name="T121" fmla="*/ 532 h 571"/>
              <a:gd name="T122" fmla="*/ 1042 w 1847"/>
              <a:gd name="T123" fmla="*/ 487 h 571"/>
              <a:gd name="T124" fmla="*/ 1060 w 1847"/>
              <a:gd name="T125" fmla="*/ 53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47" h="571">
                <a:moveTo>
                  <a:pt x="1612" y="467"/>
                </a:moveTo>
                <a:cubicBezTo>
                  <a:pt x="1603" y="467"/>
                  <a:pt x="1603" y="467"/>
                  <a:pt x="1603" y="467"/>
                </a:cubicBezTo>
                <a:cubicBezTo>
                  <a:pt x="1603" y="487"/>
                  <a:pt x="1603" y="487"/>
                  <a:pt x="1603" y="487"/>
                </a:cubicBezTo>
                <a:cubicBezTo>
                  <a:pt x="1594" y="487"/>
                  <a:pt x="1594" y="487"/>
                  <a:pt x="1594" y="487"/>
                </a:cubicBezTo>
                <a:cubicBezTo>
                  <a:pt x="1594" y="494"/>
                  <a:pt x="1594" y="494"/>
                  <a:pt x="1594" y="494"/>
                </a:cubicBezTo>
                <a:cubicBezTo>
                  <a:pt x="1603" y="494"/>
                  <a:pt x="1603" y="494"/>
                  <a:pt x="1603" y="494"/>
                </a:cubicBezTo>
                <a:cubicBezTo>
                  <a:pt x="1603" y="529"/>
                  <a:pt x="1603" y="529"/>
                  <a:pt x="1603" y="529"/>
                </a:cubicBezTo>
                <a:cubicBezTo>
                  <a:pt x="1603" y="542"/>
                  <a:pt x="1608" y="546"/>
                  <a:pt x="1618" y="546"/>
                </a:cubicBezTo>
                <a:cubicBezTo>
                  <a:pt x="1625" y="546"/>
                  <a:pt x="1625" y="546"/>
                  <a:pt x="1625" y="546"/>
                </a:cubicBezTo>
                <a:cubicBezTo>
                  <a:pt x="1625" y="539"/>
                  <a:pt x="1625" y="539"/>
                  <a:pt x="1625" y="539"/>
                </a:cubicBezTo>
                <a:cubicBezTo>
                  <a:pt x="1619" y="539"/>
                  <a:pt x="1619" y="539"/>
                  <a:pt x="1619" y="539"/>
                </a:cubicBezTo>
                <a:cubicBezTo>
                  <a:pt x="1615" y="539"/>
                  <a:pt x="1612" y="537"/>
                  <a:pt x="1612" y="530"/>
                </a:cubicBezTo>
                <a:cubicBezTo>
                  <a:pt x="1612" y="494"/>
                  <a:pt x="1612" y="494"/>
                  <a:pt x="1612" y="494"/>
                </a:cubicBezTo>
                <a:cubicBezTo>
                  <a:pt x="1626" y="494"/>
                  <a:pt x="1626" y="494"/>
                  <a:pt x="1626" y="494"/>
                </a:cubicBezTo>
                <a:cubicBezTo>
                  <a:pt x="1626" y="487"/>
                  <a:pt x="1626" y="487"/>
                  <a:pt x="1626" y="487"/>
                </a:cubicBezTo>
                <a:cubicBezTo>
                  <a:pt x="1612" y="487"/>
                  <a:pt x="1612" y="487"/>
                  <a:pt x="1612" y="487"/>
                </a:cubicBezTo>
                <a:lnTo>
                  <a:pt x="1612" y="467"/>
                </a:lnTo>
                <a:close/>
                <a:moveTo>
                  <a:pt x="381" y="239"/>
                </a:moveTo>
                <a:cubicBezTo>
                  <a:pt x="379" y="237"/>
                  <a:pt x="374" y="237"/>
                  <a:pt x="372" y="239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44" y="267"/>
                  <a:pt x="343" y="269"/>
                  <a:pt x="343" y="270"/>
                </a:cubicBezTo>
                <a:cubicBezTo>
                  <a:pt x="343" y="272"/>
                  <a:pt x="344" y="274"/>
                  <a:pt x="345" y="275"/>
                </a:cubicBezTo>
                <a:cubicBezTo>
                  <a:pt x="372" y="302"/>
                  <a:pt x="372" y="302"/>
                  <a:pt x="372" y="302"/>
                </a:cubicBezTo>
                <a:cubicBezTo>
                  <a:pt x="373" y="303"/>
                  <a:pt x="375" y="304"/>
                  <a:pt x="376" y="304"/>
                </a:cubicBezTo>
                <a:cubicBezTo>
                  <a:pt x="378" y="304"/>
                  <a:pt x="380" y="303"/>
                  <a:pt x="381" y="302"/>
                </a:cubicBezTo>
                <a:cubicBezTo>
                  <a:pt x="408" y="275"/>
                  <a:pt x="408" y="275"/>
                  <a:pt x="408" y="275"/>
                </a:cubicBezTo>
                <a:cubicBezTo>
                  <a:pt x="409" y="274"/>
                  <a:pt x="410" y="272"/>
                  <a:pt x="410" y="270"/>
                </a:cubicBezTo>
                <a:cubicBezTo>
                  <a:pt x="410" y="269"/>
                  <a:pt x="409" y="267"/>
                  <a:pt x="408" y="266"/>
                </a:cubicBezTo>
                <a:lnTo>
                  <a:pt x="381" y="239"/>
                </a:lnTo>
                <a:close/>
                <a:moveTo>
                  <a:pt x="511" y="270"/>
                </a:moveTo>
                <a:cubicBezTo>
                  <a:pt x="511" y="272"/>
                  <a:pt x="512" y="274"/>
                  <a:pt x="513" y="275"/>
                </a:cubicBezTo>
                <a:cubicBezTo>
                  <a:pt x="540" y="302"/>
                  <a:pt x="540" y="302"/>
                  <a:pt x="540" y="302"/>
                </a:cubicBezTo>
                <a:cubicBezTo>
                  <a:pt x="541" y="303"/>
                  <a:pt x="543" y="304"/>
                  <a:pt x="545" y="304"/>
                </a:cubicBezTo>
                <a:cubicBezTo>
                  <a:pt x="546" y="304"/>
                  <a:pt x="548" y="303"/>
                  <a:pt x="549" y="302"/>
                </a:cubicBezTo>
                <a:cubicBezTo>
                  <a:pt x="576" y="275"/>
                  <a:pt x="576" y="275"/>
                  <a:pt x="576" y="275"/>
                </a:cubicBezTo>
                <a:cubicBezTo>
                  <a:pt x="579" y="273"/>
                  <a:pt x="579" y="268"/>
                  <a:pt x="576" y="266"/>
                </a:cubicBezTo>
                <a:cubicBezTo>
                  <a:pt x="549" y="239"/>
                  <a:pt x="549" y="239"/>
                  <a:pt x="549" y="239"/>
                </a:cubicBezTo>
                <a:cubicBezTo>
                  <a:pt x="548" y="238"/>
                  <a:pt x="546" y="237"/>
                  <a:pt x="545" y="237"/>
                </a:cubicBezTo>
                <a:cubicBezTo>
                  <a:pt x="543" y="237"/>
                  <a:pt x="541" y="238"/>
                  <a:pt x="540" y="239"/>
                </a:cubicBezTo>
                <a:cubicBezTo>
                  <a:pt x="513" y="266"/>
                  <a:pt x="513" y="266"/>
                  <a:pt x="513" y="266"/>
                </a:cubicBezTo>
                <a:cubicBezTo>
                  <a:pt x="512" y="267"/>
                  <a:pt x="511" y="269"/>
                  <a:pt x="511" y="270"/>
                </a:cubicBezTo>
                <a:close/>
                <a:moveTo>
                  <a:pt x="1775" y="546"/>
                </a:moveTo>
                <a:cubicBezTo>
                  <a:pt x="1784" y="546"/>
                  <a:pt x="1784" y="546"/>
                  <a:pt x="1784" y="546"/>
                </a:cubicBezTo>
                <a:cubicBezTo>
                  <a:pt x="1784" y="487"/>
                  <a:pt x="1784" y="487"/>
                  <a:pt x="1784" y="487"/>
                </a:cubicBezTo>
                <a:cubicBezTo>
                  <a:pt x="1775" y="487"/>
                  <a:pt x="1775" y="487"/>
                  <a:pt x="1775" y="487"/>
                </a:cubicBezTo>
                <a:lnTo>
                  <a:pt x="1775" y="546"/>
                </a:lnTo>
                <a:close/>
                <a:moveTo>
                  <a:pt x="465" y="323"/>
                </a:moveTo>
                <a:cubicBezTo>
                  <a:pt x="463" y="320"/>
                  <a:pt x="458" y="320"/>
                  <a:pt x="456" y="323"/>
                </a:cubicBezTo>
                <a:cubicBezTo>
                  <a:pt x="429" y="349"/>
                  <a:pt x="429" y="349"/>
                  <a:pt x="429" y="349"/>
                </a:cubicBezTo>
                <a:cubicBezTo>
                  <a:pt x="428" y="351"/>
                  <a:pt x="427" y="352"/>
                  <a:pt x="427" y="354"/>
                </a:cubicBezTo>
                <a:cubicBezTo>
                  <a:pt x="427" y="356"/>
                  <a:pt x="428" y="358"/>
                  <a:pt x="429" y="359"/>
                </a:cubicBezTo>
                <a:cubicBezTo>
                  <a:pt x="456" y="385"/>
                  <a:pt x="456" y="385"/>
                  <a:pt x="456" y="385"/>
                </a:cubicBezTo>
                <a:cubicBezTo>
                  <a:pt x="457" y="387"/>
                  <a:pt x="459" y="387"/>
                  <a:pt x="460" y="387"/>
                </a:cubicBezTo>
                <a:cubicBezTo>
                  <a:pt x="462" y="387"/>
                  <a:pt x="464" y="387"/>
                  <a:pt x="465" y="385"/>
                </a:cubicBezTo>
                <a:cubicBezTo>
                  <a:pt x="492" y="359"/>
                  <a:pt x="492" y="359"/>
                  <a:pt x="492" y="359"/>
                </a:cubicBezTo>
                <a:cubicBezTo>
                  <a:pt x="494" y="356"/>
                  <a:pt x="494" y="352"/>
                  <a:pt x="492" y="349"/>
                </a:cubicBezTo>
                <a:lnTo>
                  <a:pt x="465" y="323"/>
                </a:lnTo>
                <a:close/>
                <a:moveTo>
                  <a:pt x="1663" y="486"/>
                </a:moveTo>
                <a:cubicBezTo>
                  <a:pt x="1645" y="486"/>
                  <a:pt x="1633" y="498"/>
                  <a:pt x="1633" y="517"/>
                </a:cubicBezTo>
                <a:cubicBezTo>
                  <a:pt x="1633" y="535"/>
                  <a:pt x="1645" y="548"/>
                  <a:pt x="1663" y="548"/>
                </a:cubicBezTo>
                <a:cubicBezTo>
                  <a:pt x="1681" y="548"/>
                  <a:pt x="1693" y="535"/>
                  <a:pt x="1693" y="516"/>
                </a:cubicBezTo>
                <a:cubicBezTo>
                  <a:pt x="1693" y="498"/>
                  <a:pt x="1681" y="486"/>
                  <a:pt x="1663" y="486"/>
                </a:cubicBezTo>
                <a:close/>
                <a:moveTo>
                  <a:pt x="1663" y="540"/>
                </a:moveTo>
                <a:cubicBezTo>
                  <a:pt x="1652" y="540"/>
                  <a:pt x="1643" y="531"/>
                  <a:pt x="1643" y="517"/>
                </a:cubicBezTo>
                <a:cubicBezTo>
                  <a:pt x="1643" y="501"/>
                  <a:pt x="1652" y="493"/>
                  <a:pt x="1663" y="493"/>
                </a:cubicBezTo>
                <a:cubicBezTo>
                  <a:pt x="1675" y="493"/>
                  <a:pt x="1683" y="501"/>
                  <a:pt x="1683" y="517"/>
                </a:cubicBezTo>
                <a:cubicBezTo>
                  <a:pt x="1683" y="531"/>
                  <a:pt x="1675" y="540"/>
                  <a:pt x="1663" y="540"/>
                </a:cubicBezTo>
                <a:close/>
                <a:moveTo>
                  <a:pt x="1471" y="546"/>
                </a:moveTo>
                <a:cubicBezTo>
                  <a:pt x="1529" y="546"/>
                  <a:pt x="1529" y="546"/>
                  <a:pt x="1529" y="546"/>
                </a:cubicBezTo>
                <a:cubicBezTo>
                  <a:pt x="1529" y="537"/>
                  <a:pt x="1529" y="537"/>
                  <a:pt x="1529" y="537"/>
                </a:cubicBezTo>
                <a:cubicBezTo>
                  <a:pt x="1481" y="537"/>
                  <a:pt x="1481" y="537"/>
                  <a:pt x="1481" y="537"/>
                </a:cubicBezTo>
                <a:cubicBezTo>
                  <a:pt x="1481" y="507"/>
                  <a:pt x="1481" y="507"/>
                  <a:pt x="1481" y="507"/>
                </a:cubicBezTo>
                <a:cubicBezTo>
                  <a:pt x="1525" y="507"/>
                  <a:pt x="1525" y="507"/>
                  <a:pt x="1525" y="507"/>
                </a:cubicBezTo>
                <a:cubicBezTo>
                  <a:pt x="1525" y="499"/>
                  <a:pt x="1525" y="499"/>
                  <a:pt x="1525" y="499"/>
                </a:cubicBezTo>
                <a:cubicBezTo>
                  <a:pt x="1481" y="499"/>
                  <a:pt x="1481" y="499"/>
                  <a:pt x="1481" y="499"/>
                </a:cubicBezTo>
                <a:cubicBezTo>
                  <a:pt x="1481" y="471"/>
                  <a:pt x="1481" y="471"/>
                  <a:pt x="1481" y="471"/>
                </a:cubicBezTo>
                <a:cubicBezTo>
                  <a:pt x="1529" y="471"/>
                  <a:pt x="1529" y="471"/>
                  <a:pt x="1529" y="471"/>
                </a:cubicBezTo>
                <a:cubicBezTo>
                  <a:pt x="1529" y="462"/>
                  <a:pt x="1529" y="462"/>
                  <a:pt x="1529" y="462"/>
                </a:cubicBezTo>
                <a:cubicBezTo>
                  <a:pt x="1471" y="462"/>
                  <a:pt x="1471" y="462"/>
                  <a:pt x="1471" y="462"/>
                </a:cubicBezTo>
                <a:lnTo>
                  <a:pt x="1471" y="546"/>
                </a:lnTo>
                <a:close/>
                <a:moveTo>
                  <a:pt x="105" y="275"/>
                </a:moveTo>
                <a:cubicBezTo>
                  <a:pt x="95" y="265"/>
                  <a:pt x="79" y="265"/>
                  <a:pt x="69" y="275"/>
                </a:cubicBezTo>
                <a:cubicBezTo>
                  <a:pt x="8" y="337"/>
                  <a:pt x="8" y="337"/>
                  <a:pt x="8" y="337"/>
                </a:cubicBezTo>
                <a:cubicBezTo>
                  <a:pt x="3" y="342"/>
                  <a:pt x="0" y="348"/>
                  <a:pt x="0" y="355"/>
                </a:cubicBezTo>
                <a:cubicBezTo>
                  <a:pt x="0" y="361"/>
                  <a:pt x="3" y="368"/>
                  <a:pt x="8" y="372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34" y="433"/>
                  <a:pt x="34" y="433"/>
                  <a:pt x="34" y="433"/>
                </a:cubicBezTo>
                <a:cubicBezTo>
                  <a:pt x="25" y="443"/>
                  <a:pt x="25" y="459"/>
                  <a:pt x="34" y="469"/>
                </a:cubicBezTo>
                <a:cubicBezTo>
                  <a:pt x="39" y="474"/>
                  <a:pt x="46" y="476"/>
                  <a:pt x="52" y="476"/>
                </a:cubicBezTo>
                <a:cubicBezTo>
                  <a:pt x="59" y="476"/>
                  <a:pt x="65" y="474"/>
                  <a:pt x="70" y="469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66" y="372"/>
                  <a:pt x="166" y="372"/>
                  <a:pt x="166" y="372"/>
                </a:cubicBezTo>
                <a:cubicBezTo>
                  <a:pt x="171" y="368"/>
                  <a:pt x="174" y="361"/>
                  <a:pt x="174" y="355"/>
                </a:cubicBezTo>
                <a:cubicBezTo>
                  <a:pt x="174" y="348"/>
                  <a:pt x="171" y="342"/>
                  <a:pt x="166" y="337"/>
                </a:cubicBezTo>
                <a:lnTo>
                  <a:pt x="105" y="275"/>
                </a:lnTo>
                <a:close/>
                <a:moveTo>
                  <a:pt x="118" y="359"/>
                </a:moveTo>
                <a:cubicBezTo>
                  <a:pt x="92" y="385"/>
                  <a:pt x="92" y="385"/>
                  <a:pt x="92" y="385"/>
                </a:cubicBezTo>
                <a:cubicBezTo>
                  <a:pt x="91" y="386"/>
                  <a:pt x="89" y="387"/>
                  <a:pt x="87" y="387"/>
                </a:cubicBezTo>
                <a:cubicBezTo>
                  <a:pt x="85" y="387"/>
                  <a:pt x="84" y="386"/>
                  <a:pt x="82" y="385"/>
                </a:cubicBezTo>
                <a:cubicBezTo>
                  <a:pt x="56" y="359"/>
                  <a:pt x="56" y="359"/>
                  <a:pt x="56" y="359"/>
                </a:cubicBezTo>
                <a:cubicBezTo>
                  <a:pt x="55" y="357"/>
                  <a:pt x="54" y="356"/>
                  <a:pt x="54" y="354"/>
                </a:cubicBezTo>
                <a:cubicBezTo>
                  <a:pt x="54" y="352"/>
                  <a:pt x="55" y="350"/>
                  <a:pt x="56" y="349"/>
                </a:cubicBezTo>
                <a:cubicBezTo>
                  <a:pt x="82" y="322"/>
                  <a:pt x="82" y="322"/>
                  <a:pt x="82" y="322"/>
                </a:cubicBezTo>
                <a:cubicBezTo>
                  <a:pt x="85" y="320"/>
                  <a:pt x="89" y="320"/>
                  <a:pt x="92" y="322"/>
                </a:cubicBezTo>
                <a:cubicBezTo>
                  <a:pt x="118" y="349"/>
                  <a:pt x="118" y="349"/>
                  <a:pt x="118" y="349"/>
                </a:cubicBezTo>
                <a:cubicBezTo>
                  <a:pt x="121" y="352"/>
                  <a:pt x="121" y="356"/>
                  <a:pt x="118" y="359"/>
                </a:cubicBezTo>
                <a:close/>
                <a:moveTo>
                  <a:pt x="69" y="232"/>
                </a:moveTo>
                <a:cubicBezTo>
                  <a:pt x="74" y="237"/>
                  <a:pt x="81" y="239"/>
                  <a:pt x="87" y="239"/>
                </a:cubicBezTo>
                <a:cubicBezTo>
                  <a:pt x="94" y="239"/>
                  <a:pt x="100" y="237"/>
                  <a:pt x="105" y="232"/>
                </a:cubicBezTo>
                <a:cubicBezTo>
                  <a:pt x="134" y="202"/>
                  <a:pt x="134" y="202"/>
                  <a:pt x="134" y="202"/>
                </a:cubicBezTo>
                <a:cubicBezTo>
                  <a:pt x="139" y="198"/>
                  <a:pt x="142" y="191"/>
                  <a:pt x="142" y="184"/>
                </a:cubicBezTo>
                <a:cubicBezTo>
                  <a:pt x="142" y="178"/>
                  <a:pt x="139" y="171"/>
                  <a:pt x="134" y="167"/>
                </a:cubicBezTo>
                <a:cubicBezTo>
                  <a:pt x="105" y="137"/>
                  <a:pt x="105" y="137"/>
                  <a:pt x="105" y="137"/>
                </a:cubicBezTo>
                <a:cubicBezTo>
                  <a:pt x="100" y="133"/>
                  <a:pt x="94" y="130"/>
                  <a:pt x="87" y="130"/>
                </a:cubicBezTo>
                <a:cubicBezTo>
                  <a:pt x="80" y="130"/>
                  <a:pt x="74" y="133"/>
                  <a:pt x="69" y="137"/>
                </a:cubicBezTo>
                <a:cubicBezTo>
                  <a:pt x="40" y="167"/>
                  <a:pt x="40" y="167"/>
                  <a:pt x="40" y="167"/>
                </a:cubicBezTo>
                <a:cubicBezTo>
                  <a:pt x="35" y="171"/>
                  <a:pt x="33" y="178"/>
                  <a:pt x="33" y="184"/>
                </a:cubicBezTo>
                <a:cubicBezTo>
                  <a:pt x="33" y="191"/>
                  <a:pt x="35" y="198"/>
                  <a:pt x="40" y="202"/>
                </a:cubicBezTo>
                <a:lnTo>
                  <a:pt x="69" y="232"/>
                </a:lnTo>
                <a:close/>
                <a:moveTo>
                  <a:pt x="1847" y="281"/>
                </a:moveTo>
                <a:cubicBezTo>
                  <a:pt x="1847" y="200"/>
                  <a:pt x="1771" y="186"/>
                  <a:pt x="1709" y="170"/>
                </a:cubicBezTo>
                <a:cubicBezTo>
                  <a:pt x="1659" y="158"/>
                  <a:pt x="1610" y="147"/>
                  <a:pt x="1610" y="103"/>
                </a:cubicBezTo>
                <a:cubicBezTo>
                  <a:pt x="1610" y="69"/>
                  <a:pt x="1644" y="39"/>
                  <a:pt x="1700" y="39"/>
                </a:cubicBezTo>
                <a:cubicBezTo>
                  <a:pt x="1754" y="39"/>
                  <a:pt x="1796" y="57"/>
                  <a:pt x="1822" y="81"/>
                </a:cubicBezTo>
                <a:cubicBezTo>
                  <a:pt x="1833" y="81"/>
                  <a:pt x="1833" y="81"/>
                  <a:pt x="1833" y="81"/>
                </a:cubicBezTo>
                <a:cubicBezTo>
                  <a:pt x="1833" y="41"/>
                  <a:pt x="1833" y="41"/>
                  <a:pt x="1833" y="41"/>
                </a:cubicBezTo>
                <a:cubicBezTo>
                  <a:pt x="1812" y="21"/>
                  <a:pt x="1764" y="0"/>
                  <a:pt x="1710" y="0"/>
                </a:cubicBezTo>
                <a:cubicBezTo>
                  <a:pt x="1619" y="0"/>
                  <a:pt x="1565" y="46"/>
                  <a:pt x="1565" y="104"/>
                </a:cubicBezTo>
                <a:cubicBezTo>
                  <a:pt x="1565" y="183"/>
                  <a:pt x="1641" y="196"/>
                  <a:pt x="1703" y="211"/>
                </a:cubicBezTo>
                <a:cubicBezTo>
                  <a:pt x="1754" y="223"/>
                  <a:pt x="1803" y="236"/>
                  <a:pt x="1803" y="280"/>
                </a:cubicBezTo>
                <a:cubicBezTo>
                  <a:pt x="1803" y="307"/>
                  <a:pt x="1772" y="341"/>
                  <a:pt x="1712" y="341"/>
                </a:cubicBezTo>
                <a:cubicBezTo>
                  <a:pt x="1665" y="341"/>
                  <a:pt x="1606" y="315"/>
                  <a:pt x="1572" y="279"/>
                </a:cubicBezTo>
                <a:cubicBezTo>
                  <a:pt x="1561" y="279"/>
                  <a:pt x="1561" y="279"/>
                  <a:pt x="1561" y="279"/>
                </a:cubicBezTo>
                <a:cubicBezTo>
                  <a:pt x="1561" y="331"/>
                  <a:pt x="1561" y="331"/>
                  <a:pt x="1561" y="331"/>
                </a:cubicBezTo>
                <a:cubicBezTo>
                  <a:pt x="1606" y="365"/>
                  <a:pt x="1652" y="380"/>
                  <a:pt x="1712" y="380"/>
                </a:cubicBezTo>
                <a:cubicBezTo>
                  <a:pt x="1797" y="380"/>
                  <a:pt x="1847" y="334"/>
                  <a:pt x="1847" y="281"/>
                </a:cubicBezTo>
                <a:close/>
                <a:moveTo>
                  <a:pt x="1821" y="486"/>
                </a:moveTo>
                <a:cubicBezTo>
                  <a:pt x="1812" y="486"/>
                  <a:pt x="1805" y="489"/>
                  <a:pt x="1800" y="493"/>
                </a:cubicBezTo>
                <a:cubicBezTo>
                  <a:pt x="1800" y="502"/>
                  <a:pt x="1800" y="502"/>
                  <a:pt x="1800" y="502"/>
                </a:cubicBezTo>
                <a:cubicBezTo>
                  <a:pt x="1802" y="502"/>
                  <a:pt x="1802" y="502"/>
                  <a:pt x="1802" y="502"/>
                </a:cubicBezTo>
                <a:cubicBezTo>
                  <a:pt x="1807" y="497"/>
                  <a:pt x="1812" y="494"/>
                  <a:pt x="1821" y="494"/>
                </a:cubicBezTo>
                <a:cubicBezTo>
                  <a:pt x="1829" y="494"/>
                  <a:pt x="1835" y="499"/>
                  <a:pt x="1837" y="505"/>
                </a:cubicBezTo>
                <a:cubicBezTo>
                  <a:pt x="1836" y="507"/>
                  <a:pt x="1836" y="507"/>
                  <a:pt x="1836" y="507"/>
                </a:cubicBezTo>
                <a:cubicBezTo>
                  <a:pt x="1832" y="507"/>
                  <a:pt x="1823" y="509"/>
                  <a:pt x="1819" y="510"/>
                </a:cubicBezTo>
                <a:cubicBezTo>
                  <a:pt x="1805" y="513"/>
                  <a:pt x="1796" y="518"/>
                  <a:pt x="1796" y="530"/>
                </a:cubicBezTo>
                <a:cubicBezTo>
                  <a:pt x="1796" y="540"/>
                  <a:pt x="1804" y="548"/>
                  <a:pt x="1816" y="548"/>
                </a:cubicBezTo>
                <a:cubicBezTo>
                  <a:pt x="1824" y="548"/>
                  <a:pt x="1831" y="545"/>
                  <a:pt x="1836" y="539"/>
                </a:cubicBezTo>
                <a:cubicBezTo>
                  <a:pt x="1837" y="539"/>
                  <a:pt x="1837" y="539"/>
                  <a:pt x="1837" y="539"/>
                </a:cubicBezTo>
                <a:cubicBezTo>
                  <a:pt x="1837" y="546"/>
                  <a:pt x="1837" y="546"/>
                  <a:pt x="1837" y="546"/>
                </a:cubicBezTo>
                <a:cubicBezTo>
                  <a:pt x="1846" y="546"/>
                  <a:pt x="1846" y="546"/>
                  <a:pt x="1846" y="546"/>
                </a:cubicBezTo>
                <a:cubicBezTo>
                  <a:pt x="1846" y="533"/>
                  <a:pt x="1846" y="522"/>
                  <a:pt x="1846" y="509"/>
                </a:cubicBezTo>
                <a:cubicBezTo>
                  <a:pt x="1846" y="495"/>
                  <a:pt x="1837" y="486"/>
                  <a:pt x="1821" y="486"/>
                </a:cubicBezTo>
                <a:close/>
                <a:moveTo>
                  <a:pt x="1837" y="528"/>
                </a:moveTo>
                <a:cubicBezTo>
                  <a:pt x="1837" y="527"/>
                  <a:pt x="1837" y="527"/>
                  <a:pt x="1837" y="527"/>
                </a:cubicBezTo>
                <a:cubicBezTo>
                  <a:pt x="1837" y="536"/>
                  <a:pt x="1826" y="539"/>
                  <a:pt x="1820" y="539"/>
                </a:cubicBezTo>
                <a:cubicBezTo>
                  <a:pt x="1811" y="539"/>
                  <a:pt x="1805" y="536"/>
                  <a:pt x="1805" y="530"/>
                </a:cubicBezTo>
                <a:cubicBezTo>
                  <a:pt x="1805" y="523"/>
                  <a:pt x="1810" y="520"/>
                  <a:pt x="1822" y="518"/>
                </a:cubicBezTo>
                <a:cubicBezTo>
                  <a:pt x="1825" y="517"/>
                  <a:pt x="1832" y="516"/>
                  <a:pt x="1837" y="515"/>
                </a:cubicBezTo>
                <a:lnTo>
                  <a:pt x="1837" y="528"/>
                </a:lnTo>
                <a:close/>
                <a:moveTo>
                  <a:pt x="1775" y="472"/>
                </a:moveTo>
                <a:cubicBezTo>
                  <a:pt x="1784" y="472"/>
                  <a:pt x="1784" y="472"/>
                  <a:pt x="1784" y="472"/>
                </a:cubicBezTo>
                <a:cubicBezTo>
                  <a:pt x="1784" y="460"/>
                  <a:pt x="1784" y="460"/>
                  <a:pt x="1784" y="460"/>
                </a:cubicBezTo>
                <a:cubicBezTo>
                  <a:pt x="1775" y="460"/>
                  <a:pt x="1775" y="460"/>
                  <a:pt x="1775" y="460"/>
                </a:cubicBezTo>
                <a:lnTo>
                  <a:pt x="1775" y="472"/>
                </a:lnTo>
                <a:close/>
                <a:moveTo>
                  <a:pt x="456" y="217"/>
                </a:moveTo>
                <a:cubicBezTo>
                  <a:pt x="457" y="218"/>
                  <a:pt x="459" y="219"/>
                  <a:pt x="460" y="219"/>
                </a:cubicBezTo>
                <a:cubicBezTo>
                  <a:pt x="462" y="219"/>
                  <a:pt x="464" y="218"/>
                  <a:pt x="465" y="217"/>
                </a:cubicBezTo>
                <a:cubicBezTo>
                  <a:pt x="492" y="191"/>
                  <a:pt x="492" y="191"/>
                  <a:pt x="492" y="191"/>
                </a:cubicBezTo>
                <a:cubicBezTo>
                  <a:pt x="494" y="188"/>
                  <a:pt x="494" y="184"/>
                  <a:pt x="492" y="181"/>
                </a:cubicBezTo>
                <a:cubicBezTo>
                  <a:pt x="465" y="155"/>
                  <a:pt x="465" y="155"/>
                  <a:pt x="465" y="155"/>
                </a:cubicBezTo>
                <a:cubicBezTo>
                  <a:pt x="464" y="153"/>
                  <a:pt x="462" y="153"/>
                  <a:pt x="460" y="153"/>
                </a:cubicBezTo>
                <a:cubicBezTo>
                  <a:pt x="459" y="153"/>
                  <a:pt x="457" y="153"/>
                  <a:pt x="456" y="155"/>
                </a:cubicBezTo>
                <a:cubicBezTo>
                  <a:pt x="429" y="181"/>
                  <a:pt x="429" y="181"/>
                  <a:pt x="429" y="181"/>
                </a:cubicBezTo>
                <a:cubicBezTo>
                  <a:pt x="428" y="182"/>
                  <a:pt x="427" y="184"/>
                  <a:pt x="427" y="186"/>
                </a:cubicBezTo>
                <a:cubicBezTo>
                  <a:pt x="427" y="188"/>
                  <a:pt x="428" y="189"/>
                  <a:pt x="429" y="191"/>
                </a:cubicBezTo>
                <a:lnTo>
                  <a:pt x="456" y="217"/>
                </a:lnTo>
                <a:close/>
                <a:moveTo>
                  <a:pt x="1737" y="486"/>
                </a:moveTo>
                <a:cubicBezTo>
                  <a:pt x="1729" y="486"/>
                  <a:pt x="1721" y="489"/>
                  <a:pt x="1717" y="497"/>
                </a:cubicBezTo>
                <a:cubicBezTo>
                  <a:pt x="1715" y="497"/>
                  <a:pt x="1715" y="497"/>
                  <a:pt x="1715" y="497"/>
                </a:cubicBezTo>
                <a:cubicBezTo>
                  <a:pt x="1715" y="487"/>
                  <a:pt x="1715" y="487"/>
                  <a:pt x="1715" y="487"/>
                </a:cubicBezTo>
                <a:cubicBezTo>
                  <a:pt x="1707" y="487"/>
                  <a:pt x="1707" y="487"/>
                  <a:pt x="1707" y="487"/>
                </a:cubicBezTo>
                <a:cubicBezTo>
                  <a:pt x="1707" y="546"/>
                  <a:pt x="1707" y="546"/>
                  <a:pt x="1707" y="546"/>
                </a:cubicBezTo>
                <a:cubicBezTo>
                  <a:pt x="1716" y="546"/>
                  <a:pt x="1716" y="546"/>
                  <a:pt x="1716" y="546"/>
                </a:cubicBezTo>
                <a:cubicBezTo>
                  <a:pt x="1716" y="508"/>
                  <a:pt x="1716" y="508"/>
                  <a:pt x="1716" y="508"/>
                </a:cubicBezTo>
                <a:cubicBezTo>
                  <a:pt x="1716" y="500"/>
                  <a:pt x="1727" y="494"/>
                  <a:pt x="1734" y="494"/>
                </a:cubicBezTo>
                <a:cubicBezTo>
                  <a:pt x="1743" y="494"/>
                  <a:pt x="1750" y="499"/>
                  <a:pt x="1750" y="509"/>
                </a:cubicBezTo>
                <a:cubicBezTo>
                  <a:pt x="1750" y="546"/>
                  <a:pt x="1750" y="546"/>
                  <a:pt x="1750" y="546"/>
                </a:cubicBezTo>
                <a:cubicBezTo>
                  <a:pt x="1759" y="546"/>
                  <a:pt x="1759" y="546"/>
                  <a:pt x="1759" y="546"/>
                </a:cubicBezTo>
                <a:cubicBezTo>
                  <a:pt x="1759" y="508"/>
                  <a:pt x="1759" y="508"/>
                  <a:pt x="1759" y="508"/>
                </a:cubicBezTo>
                <a:cubicBezTo>
                  <a:pt x="1759" y="493"/>
                  <a:pt x="1750" y="486"/>
                  <a:pt x="1737" y="486"/>
                </a:cubicBezTo>
                <a:close/>
                <a:moveTo>
                  <a:pt x="1270" y="497"/>
                </a:moveTo>
                <a:cubicBezTo>
                  <a:pt x="1268" y="497"/>
                  <a:pt x="1268" y="497"/>
                  <a:pt x="1268" y="497"/>
                </a:cubicBezTo>
                <a:cubicBezTo>
                  <a:pt x="1268" y="487"/>
                  <a:pt x="1268" y="487"/>
                  <a:pt x="1268" y="487"/>
                </a:cubicBezTo>
                <a:cubicBezTo>
                  <a:pt x="1259" y="487"/>
                  <a:pt x="1259" y="487"/>
                  <a:pt x="1259" y="487"/>
                </a:cubicBezTo>
                <a:cubicBezTo>
                  <a:pt x="1259" y="546"/>
                  <a:pt x="1259" y="546"/>
                  <a:pt x="1259" y="546"/>
                </a:cubicBezTo>
                <a:cubicBezTo>
                  <a:pt x="1269" y="546"/>
                  <a:pt x="1269" y="546"/>
                  <a:pt x="1269" y="546"/>
                </a:cubicBezTo>
                <a:cubicBezTo>
                  <a:pt x="1269" y="512"/>
                  <a:pt x="1269" y="512"/>
                  <a:pt x="1269" y="512"/>
                </a:cubicBezTo>
                <a:cubicBezTo>
                  <a:pt x="1269" y="502"/>
                  <a:pt x="1276" y="495"/>
                  <a:pt x="1283" y="495"/>
                </a:cubicBezTo>
                <a:cubicBezTo>
                  <a:pt x="1291" y="495"/>
                  <a:pt x="1291" y="495"/>
                  <a:pt x="1291" y="495"/>
                </a:cubicBezTo>
                <a:cubicBezTo>
                  <a:pt x="1291" y="486"/>
                  <a:pt x="1291" y="486"/>
                  <a:pt x="1291" y="486"/>
                </a:cubicBezTo>
                <a:cubicBezTo>
                  <a:pt x="1283" y="486"/>
                  <a:pt x="1283" y="486"/>
                  <a:pt x="1283" y="486"/>
                </a:cubicBezTo>
                <a:cubicBezTo>
                  <a:pt x="1276" y="486"/>
                  <a:pt x="1272" y="490"/>
                  <a:pt x="1270" y="497"/>
                </a:cubicBezTo>
                <a:close/>
                <a:moveTo>
                  <a:pt x="1302" y="546"/>
                </a:moveTo>
                <a:cubicBezTo>
                  <a:pt x="1311" y="546"/>
                  <a:pt x="1311" y="546"/>
                  <a:pt x="1311" y="546"/>
                </a:cubicBezTo>
                <a:cubicBezTo>
                  <a:pt x="1311" y="487"/>
                  <a:pt x="1311" y="487"/>
                  <a:pt x="1311" y="487"/>
                </a:cubicBezTo>
                <a:cubicBezTo>
                  <a:pt x="1302" y="487"/>
                  <a:pt x="1302" y="487"/>
                  <a:pt x="1302" y="487"/>
                </a:cubicBezTo>
                <a:lnTo>
                  <a:pt x="1302" y="546"/>
                </a:lnTo>
                <a:close/>
                <a:moveTo>
                  <a:pt x="1330" y="5"/>
                </a:moveTo>
                <a:cubicBezTo>
                  <a:pt x="1196" y="361"/>
                  <a:pt x="1196" y="361"/>
                  <a:pt x="1196" y="361"/>
                </a:cubicBezTo>
                <a:cubicBezTo>
                  <a:pt x="1196" y="373"/>
                  <a:pt x="1196" y="373"/>
                  <a:pt x="1196" y="373"/>
                </a:cubicBezTo>
                <a:cubicBezTo>
                  <a:pt x="1235" y="373"/>
                  <a:pt x="1235" y="373"/>
                  <a:pt x="1235" y="373"/>
                </a:cubicBezTo>
                <a:cubicBezTo>
                  <a:pt x="1284" y="242"/>
                  <a:pt x="1284" y="242"/>
                  <a:pt x="1284" y="242"/>
                </a:cubicBezTo>
                <a:cubicBezTo>
                  <a:pt x="1442" y="242"/>
                  <a:pt x="1442" y="242"/>
                  <a:pt x="1442" y="242"/>
                </a:cubicBezTo>
                <a:cubicBezTo>
                  <a:pt x="1493" y="373"/>
                  <a:pt x="1493" y="373"/>
                  <a:pt x="1493" y="373"/>
                </a:cubicBezTo>
                <a:cubicBezTo>
                  <a:pt x="1536" y="373"/>
                  <a:pt x="1536" y="373"/>
                  <a:pt x="1536" y="373"/>
                </a:cubicBezTo>
                <a:cubicBezTo>
                  <a:pt x="1536" y="361"/>
                  <a:pt x="1536" y="361"/>
                  <a:pt x="1536" y="361"/>
                </a:cubicBezTo>
                <a:cubicBezTo>
                  <a:pt x="1398" y="5"/>
                  <a:pt x="1398" y="5"/>
                  <a:pt x="1398" y="5"/>
                </a:cubicBezTo>
                <a:lnTo>
                  <a:pt x="1330" y="5"/>
                </a:lnTo>
                <a:close/>
                <a:moveTo>
                  <a:pt x="1298" y="205"/>
                </a:moveTo>
                <a:cubicBezTo>
                  <a:pt x="1353" y="58"/>
                  <a:pt x="1353" y="58"/>
                  <a:pt x="1353" y="58"/>
                </a:cubicBezTo>
                <a:cubicBezTo>
                  <a:pt x="1361" y="35"/>
                  <a:pt x="1361" y="35"/>
                  <a:pt x="1361" y="35"/>
                </a:cubicBezTo>
                <a:cubicBezTo>
                  <a:pt x="1363" y="35"/>
                  <a:pt x="1363" y="35"/>
                  <a:pt x="1363" y="35"/>
                </a:cubicBezTo>
                <a:cubicBezTo>
                  <a:pt x="1371" y="58"/>
                  <a:pt x="1371" y="58"/>
                  <a:pt x="1371" y="58"/>
                </a:cubicBezTo>
                <a:cubicBezTo>
                  <a:pt x="1427" y="205"/>
                  <a:pt x="1427" y="205"/>
                  <a:pt x="1427" y="205"/>
                </a:cubicBezTo>
                <a:lnTo>
                  <a:pt x="1298" y="205"/>
                </a:lnTo>
                <a:close/>
                <a:moveTo>
                  <a:pt x="1217" y="486"/>
                </a:moveTo>
                <a:cubicBezTo>
                  <a:pt x="1210" y="486"/>
                  <a:pt x="1203" y="489"/>
                  <a:pt x="1200" y="494"/>
                </a:cubicBezTo>
                <a:cubicBezTo>
                  <a:pt x="1199" y="494"/>
                  <a:pt x="1199" y="494"/>
                  <a:pt x="1199" y="494"/>
                </a:cubicBezTo>
                <a:cubicBezTo>
                  <a:pt x="1199" y="487"/>
                  <a:pt x="1199" y="487"/>
                  <a:pt x="1199" y="487"/>
                </a:cubicBezTo>
                <a:cubicBezTo>
                  <a:pt x="1189" y="487"/>
                  <a:pt x="1189" y="487"/>
                  <a:pt x="1189" y="487"/>
                </a:cubicBezTo>
                <a:cubicBezTo>
                  <a:pt x="1189" y="571"/>
                  <a:pt x="1189" y="571"/>
                  <a:pt x="1189" y="571"/>
                </a:cubicBezTo>
                <a:cubicBezTo>
                  <a:pt x="1198" y="571"/>
                  <a:pt x="1198" y="571"/>
                  <a:pt x="1198" y="571"/>
                </a:cubicBezTo>
                <a:cubicBezTo>
                  <a:pt x="1198" y="538"/>
                  <a:pt x="1198" y="538"/>
                  <a:pt x="1198" y="538"/>
                </a:cubicBezTo>
                <a:cubicBezTo>
                  <a:pt x="1200" y="538"/>
                  <a:pt x="1200" y="538"/>
                  <a:pt x="1200" y="538"/>
                </a:cubicBezTo>
                <a:cubicBezTo>
                  <a:pt x="1202" y="544"/>
                  <a:pt x="1211" y="547"/>
                  <a:pt x="1217" y="547"/>
                </a:cubicBezTo>
                <a:cubicBezTo>
                  <a:pt x="1233" y="547"/>
                  <a:pt x="1246" y="535"/>
                  <a:pt x="1246" y="515"/>
                </a:cubicBezTo>
                <a:cubicBezTo>
                  <a:pt x="1246" y="497"/>
                  <a:pt x="1235" y="486"/>
                  <a:pt x="1217" y="486"/>
                </a:cubicBezTo>
                <a:close/>
                <a:moveTo>
                  <a:pt x="1216" y="539"/>
                </a:moveTo>
                <a:cubicBezTo>
                  <a:pt x="1207" y="539"/>
                  <a:pt x="1199" y="534"/>
                  <a:pt x="1198" y="527"/>
                </a:cubicBezTo>
                <a:cubicBezTo>
                  <a:pt x="1198" y="510"/>
                  <a:pt x="1198" y="510"/>
                  <a:pt x="1198" y="510"/>
                </a:cubicBezTo>
                <a:cubicBezTo>
                  <a:pt x="1199" y="500"/>
                  <a:pt x="1207" y="494"/>
                  <a:pt x="1216" y="494"/>
                </a:cubicBezTo>
                <a:cubicBezTo>
                  <a:pt x="1228" y="494"/>
                  <a:pt x="1237" y="502"/>
                  <a:pt x="1237" y="516"/>
                </a:cubicBezTo>
                <a:cubicBezTo>
                  <a:pt x="1237" y="531"/>
                  <a:pt x="1227" y="539"/>
                  <a:pt x="1216" y="539"/>
                </a:cubicBezTo>
                <a:close/>
                <a:moveTo>
                  <a:pt x="1302" y="472"/>
                </a:moveTo>
                <a:cubicBezTo>
                  <a:pt x="1311" y="472"/>
                  <a:pt x="1311" y="472"/>
                  <a:pt x="1311" y="472"/>
                </a:cubicBezTo>
                <a:cubicBezTo>
                  <a:pt x="1311" y="460"/>
                  <a:pt x="1311" y="460"/>
                  <a:pt x="1311" y="460"/>
                </a:cubicBezTo>
                <a:cubicBezTo>
                  <a:pt x="1302" y="460"/>
                  <a:pt x="1302" y="460"/>
                  <a:pt x="1302" y="460"/>
                </a:cubicBezTo>
                <a:lnTo>
                  <a:pt x="1302" y="472"/>
                </a:lnTo>
                <a:close/>
                <a:moveTo>
                  <a:pt x="1436" y="517"/>
                </a:moveTo>
                <a:cubicBezTo>
                  <a:pt x="1436" y="499"/>
                  <a:pt x="1428" y="486"/>
                  <a:pt x="1408" y="486"/>
                </a:cubicBezTo>
                <a:cubicBezTo>
                  <a:pt x="1390" y="486"/>
                  <a:pt x="1380" y="499"/>
                  <a:pt x="1380" y="516"/>
                </a:cubicBezTo>
                <a:cubicBezTo>
                  <a:pt x="1380" y="537"/>
                  <a:pt x="1391" y="548"/>
                  <a:pt x="1412" y="548"/>
                </a:cubicBezTo>
                <a:cubicBezTo>
                  <a:pt x="1418" y="548"/>
                  <a:pt x="1427" y="546"/>
                  <a:pt x="1433" y="540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1" y="533"/>
                  <a:pt x="1431" y="533"/>
                  <a:pt x="1431" y="533"/>
                </a:cubicBezTo>
                <a:cubicBezTo>
                  <a:pt x="1425" y="537"/>
                  <a:pt x="1418" y="539"/>
                  <a:pt x="1412" y="539"/>
                </a:cubicBezTo>
                <a:cubicBezTo>
                  <a:pt x="1401" y="539"/>
                  <a:pt x="1395" y="535"/>
                  <a:pt x="1391" y="527"/>
                </a:cubicBezTo>
                <a:cubicBezTo>
                  <a:pt x="1390" y="525"/>
                  <a:pt x="1390" y="522"/>
                  <a:pt x="1390" y="518"/>
                </a:cubicBezTo>
                <a:cubicBezTo>
                  <a:pt x="1390" y="517"/>
                  <a:pt x="1390" y="517"/>
                  <a:pt x="1390" y="517"/>
                </a:cubicBezTo>
                <a:lnTo>
                  <a:pt x="1436" y="517"/>
                </a:lnTo>
                <a:close/>
                <a:moveTo>
                  <a:pt x="1408" y="493"/>
                </a:moveTo>
                <a:cubicBezTo>
                  <a:pt x="1419" y="493"/>
                  <a:pt x="1425" y="500"/>
                  <a:pt x="1426" y="510"/>
                </a:cubicBezTo>
                <a:cubicBezTo>
                  <a:pt x="1390" y="510"/>
                  <a:pt x="1390" y="510"/>
                  <a:pt x="1390" y="510"/>
                </a:cubicBezTo>
                <a:cubicBezTo>
                  <a:pt x="1392" y="500"/>
                  <a:pt x="1397" y="493"/>
                  <a:pt x="1408" y="493"/>
                </a:cubicBezTo>
                <a:close/>
                <a:moveTo>
                  <a:pt x="1335" y="501"/>
                </a:moveTo>
                <a:cubicBezTo>
                  <a:pt x="1335" y="496"/>
                  <a:pt x="1340" y="493"/>
                  <a:pt x="1350" y="493"/>
                </a:cubicBezTo>
                <a:cubicBezTo>
                  <a:pt x="1358" y="493"/>
                  <a:pt x="1364" y="498"/>
                  <a:pt x="1366" y="500"/>
                </a:cubicBezTo>
                <a:cubicBezTo>
                  <a:pt x="1368" y="500"/>
                  <a:pt x="1368" y="500"/>
                  <a:pt x="1368" y="500"/>
                </a:cubicBezTo>
                <a:cubicBezTo>
                  <a:pt x="1368" y="491"/>
                  <a:pt x="1368" y="491"/>
                  <a:pt x="1368" y="491"/>
                </a:cubicBezTo>
                <a:cubicBezTo>
                  <a:pt x="1365" y="489"/>
                  <a:pt x="1359" y="486"/>
                  <a:pt x="1350" y="486"/>
                </a:cubicBezTo>
                <a:cubicBezTo>
                  <a:pt x="1334" y="486"/>
                  <a:pt x="1326" y="493"/>
                  <a:pt x="1326" y="503"/>
                </a:cubicBezTo>
                <a:cubicBezTo>
                  <a:pt x="1326" y="523"/>
                  <a:pt x="1362" y="519"/>
                  <a:pt x="1362" y="531"/>
                </a:cubicBezTo>
                <a:cubicBezTo>
                  <a:pt x="1362" y="537"/>
                  <a:pt x="1358" y="540"/>
                  <a:pt x="1348" y="540"/>
                </a:cubicBezTo>
                <a:cubicBezTo>
                  <a:pt x="1341" y="540"/>
                  <a:pt x="1332" y="536"/>
                  <a:pt x="1329" y="532"/>
                </a:cubicBezTo>
                <a:cubicBezTo>
                  <a:pt x="1326" y="532"/>
                  <a:pt x="1326" y="532"/>
                  <a:pt x="1326" y="532"/>
                </a:cubicBezTo>
                <a:cubicBezTo>
                  <a:pt x="1326" y="541"/>
                  <a:pt x="1326" y="541"/>
                  <a:pt x="1326" y="541"/>
                </a:cubicBezTo>
                <a:cubicBezTo>
                  <a:pt x="1331" y="545"/>
                  <a:pt x="1339" y="548"/>
                  <a:pt x="1348" y="548"/>
                </a:cubicBezTo>
                <a:cubicBezTo>
                  <a:pt x="1365" y="548"/>
                  <a:pt x="1372" y="541"/>
                  <a:pt x="1372" y="531"/>
                </a:cubicBezTo>
                <a:cubicBezTo>
                  <a:pt x="1372" y="510"/>
                  <a:pt x="1335" y="516"/>
                  <a:pt x="1335" y="501"/>
                </a:cubicBezTo>
                <a:close/>
                <a:moveTo>
                  <a:pt x="912" y="546"/>
                </a:moveTo>
                <a:cubicBezTo>
                  <a:pt x="969" y="546"/>
                  <a:pt x="969" y="546"/>
                  <a:pt x="969" y="546"/>
                </a:cubicBezTo>
                <a:cubicBezTo>
                  <a:pt x="969" y="537"/>
                  <a:pt x="969" y="537"/>
                  <a:pt x="969" y="537"/>
                </a:cubicBezTo>
                <a:cubicBezTo>
                  <a:pt x="921" y="537"/>
                  <a:pt x="921" y="537"/>
                  <a:pt x="921" y="537"/>
                </a:cubicBezTo>
                <a:cubicBezTo>
                  <a:pt x="921" y="507"/>
                  <a:pt x="921" y="507"/>
                  <a:pt x="921" y="507"/>
                </a:cubicBezTo>
                <a:cubicBezTo>
                  <a:pt x="965" y="507"/>
                  <a:pt x="965" y="507"/>
                  <a:pt x="965" y="507"/>
                </a:cubicBezTo>
                <a:cubicBezTo>
                  <a:pt x="965" y="499"/>
                  <a:pt x="965" y="499"/>
                  <a:pt x="965" y="499"/>
                </a:cubicBezTo>
                <a:cubicBezTo>
                  <a:pt x="921" y="499"/>
                  <a:pt x="921" y="499"/>
                  <a:pt x="921" y="499"/>
                </a:cubicBezTo>
                <a:cubicBezTo>
                  <a:pt x="921" y="471"/>
                  <a:pt x="921" y="471"/>
                  <a:pt x="921" y="471"/>
                </a:cubicBezTo>
                <a:cubicBezTo>
                  <a:pt x="969" y="471"/>
                  <a:pt x="969" y="471"/>
                  <a:pt x="969" y="471"/>
                </a:cubicBezTo>
                <a:cubicBezTo>
                  <a:pt x="969" y="462"/>
                  <a:pt x="969" y="462"/>
                  <a:pt x="969" y="462"/>
                </a:cubicBezTo>
                <a:cubicBezTo>
                  <a:pt x="912" y="462"/>
                  <a:pt x="912" y="462"/>
                  <a:pt x="912" y="462"/>
                </a:cubicBezTo>
                <a:lnTo>
                  <a:pt x="912" y="546"/>
                </a:lnTo>
                <a:close/>
                <a:moveTo>
                  <a:pt x="1159" y="497"/>
                </a:moveTo>
                <a:cubicBezTo>
                  <a:pt x="1158" y="497"/>
                  <a:pt x="1158" y="497"/>
                  <a:pt x="1158" y="497"/>
                </a:cubicBezTo>
                <a:cubicBezTo>
                  <a:pt x="1158" y="487"/>
                  <a:pt x="1158" y="487"/>
                  <a:pt x="1158" y="487"/>
                </a:cubicBezTo>
                <a:cubicBezTo>
                  <a:pt x="1148" y="487"/>
                  <a:pt x="1148" y="487"/>
                  <a:pt x="1148" y="487"/>
                </a:cubicBezTo>
                <a:cubicBezTo>
                  <a:pt x="1148" y="546"/>
                  <a:pt x="1148" y="546"/>
                  <a:pt x="1148" y="546"/>
                </a:cubicBezTo>
                <a:cubicBezTo>
                  <a:pt x="1158" y="546"/>
                  <a:pt x="1158" y="546"/>
                  <a:pt x="1158" y="546"/>
                </a:cubicBezTo>
                <a:cubicBezTo>
                  <a:pt x="1158" y="512"/>
                  <a:pt x="1158" y="512"/>
                  <a:pt x="1158" y="512"/>
                </a:cubicBezTo>
                <a:cubicBezTo>
                  <a:pt x="1159" y="502"/>
                  <a:pt x="1165" y="495"/>
                  <a:pt x="1172" y="495"/>
                </a:cubicBezTo>
                <a:cubicBezTo>
                  <a:pt x="1180" y="495"/>
                  <a:pt x="1180" y="495"/>
                  <a:pt x="1180" y="495"/>
                </a:cubicBezTo>
                <a:cubicBezTo>
                  <a:pt x="1180" y="486"/>
                  <a:pt x="1180" y="486"/>
                  <a:pt x="1180" y="486"/>
                </a:cubicBezTo>
                <a:cubicBezTo>
                  <a:pt x="1172" y="486"/>
                  <a:pt x="1172" y="486"/>
                  <a:pt x="1172" y="486"/>
                </a:cubicBezTo>
                <a:cubicBezTo>
                  <a:pt x="1165" y="486"/>
                  <a:pt x="1161" y="490"/>
                  <a:pt x="1159" y="497"/>
                </a:cubicBezTo>
                <a:close/>
                <a:moveTo>
                  <a:pt x="767" y="20"/>
                </a:moveTo>
                <a:cubicBezTo>
                  <a:pt x="763" y="11"/>
                  <a:pt x="754" y="5"/>
                  <a:pt x="744" y="5"/>
                </a:cubicBezTo>
                <a:cubicBezTo>
                  <a:pt x="416" y="5"/>
                  <a:pt x="416" y="5"/>
                  <a:pt x="416" y="5"/>
                </a:cubicBezTo>
                <a:cubicBezTo>
                  <a:pt x="409" y="5"/>
                  <a:pt x="403" y="8"/>
                  <a:pt x="398" y="12"/>
                </a:cubicBezTo>
                <a:cubicBezTo>
                  <a:pt x="185" y="225"/>
                  <a:pt x="185" y="225"/>
                  <a:pt x="185" y="225"/>
                </a:cubicBezTo>
                <a:cubicBezTo>
                  <a:pt x="176" y="235"/>
                  <a:pt x="176" y="250"/>
                  <a:pt x="185" y="260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26" y="364"/>
                  <a:pt x="226" y="364"/>
                  <a:pt x="226" y="364"/>
                </a:cubicBezTo>
                <a:cubicBezTo>
                  <a:pt x="216" y="373"/>
                  <a:pt x="216" y="389"/>
                  <a:pt x="226" y="399"/>
                </a:cubicBezTo>
                <a:cubicBezTo>
                  <a:pt x="332" y="505"/>
                  <a:pt x="332" y="505"/>
                  <a:pt x="332" y="505"/>
                </a:cubicBezTo>
                <a:cubicBezTo>
                  <a:pt x="341" y="515"/>
                  <a:pt x="357" y="515"/>
                  <a:pt x="367" y="505"/>
                </a:cubicBezTo>
                <a:cubicBezTo>
                  <a:pt x="401" y="471"/>
                  <a:pt x="401" y="471"/>
                  <a:pt x="401" y="471"/>
                </a:cubicBezTo>
                <a:cubicBezTo>
                  <a:pt x="494" y="564"/>
                  <a:pt x="494" y="564"/>
                  <a:pt x="494" y="564"/>
                </a:cubicBezTo>
                <a:cubicBezTo>
                  <a:pt x="499" y="569"/>
                  <a:pt x="505" y="571"/>
                  <a:pt x="512" y="571"/>
                </a:cubicBezTo>
                <a:cubicBezTo>
                  <a:pt x="518" y="571"/>
                  <a:pt x="525" y="569"/>
                  <a:pt x="530" y="564"/>
                </a:cubicBezTo>
                <a:cubicBezTo>
                  <a:pt x="757" y="337"/>
                  <a:pt x="757" y="337"/>
                  <a:pt x="757" y="337"/>
                </a:cubicBezTo>
                <a:cubicBezTo>
                  <a:pt x="761" y="332"/>
                  <a:pt x="764" y="325"/>
                  <a:pt x="764" y="319"/>
                </a:cubicBezTo>
                <a:cubicBezTo>
                  <a:pt x="764" y="312"/>
                  <a:pt x="761" y="306"/>
                  <a:pt x="757" y="301"/>
                </a:cubicBezTo>
                <a:cubicBezTo>
                  <a:pt x="632" y="176"/>
                  <a:pt x="632" y="176"/>
                  <a:pt x="632" y="176"/>
                </a:cubicBezTo>
                <a:cubicBezTo>
                  <a:pt x="762" y="48"/>
                  <a:pt x="762" y="48"/>
                  <a:pt x="762" y="48"/>
                </a:cubicBezTo>
                <a:cubicBezTo>
                  <a:pt x="769" y="41"/>
                  <a:pt x="771" y="30"/>
                  <a:pt x="767" y="20"/>
                </a:cubicBezTo>
                <a:close/>
                <a:moveTo>
                  <a:pt x="550" y="144"/>
                </a:moveTo>
                <a:cubicBezTo>
                  <a:pt x="577" y="118"/>
                  <a:pt x="577" y="118"/>
                  <a:pt x="577" y="118"/>
                </a:cubicBezTo>
                <a:cubicBezTo>
                  <a:pt x="578" y="116"/>
                  <a:pt x="580" y="116"/>
                  <a:pt x="582" y="116"/>
                </a:cubicBezTo>
                <a:cubicBezTo>
                  <a:pt x="583" y="116"/>
                  <a:pt x="585" y="116"/>
                  <a:pt x="586" y="118"/>
                </a:cubicBezTo>
                <a:cubicBezTo>
                  <a:pt x="613" y="144"/>
                  <a:pt x="613" y="144"/>
                  <a:pt x="613" y="144"/>
                </a:cubicBezTo>
                <a:cubicBezTo>
                  <a:pt x="615" y="147"/>
                  <a:pt x="615" y="151"/>
                  <a:pt x="613" y="154"/>
                </a:cubicBezTo>
                <a:cubicBezTo>
                  <a:pt x="586" y="180"/>
                  <a:pt x="586" y="180"/>
                  <a:pt x="586" y="180"/>
                </a:cubicBezTo>
                <a:cubicBezTo>
                  <a:pt x="585" y="181"/>
                  <a:pt x="583" y="182"/>
                  <a:pt x="582" y="182"/>
                </a:cubicBezTo>
                <a:cubicBezTo>
                  <a:pt x="580" y="182"/>
                  <a:pt x="578" y="181"/>
                  <a:pt x="577" y="180"/>
                </a:cubicBezTo>
                <a:cubicBezTo>
                  <a:pt x="550" y="154"/>
                  <a:pt x="550" y="154"/>
                  <a:pt x="550" y="154"/>
                </a:cubicBezTo>
                <a:cubicBezTo>
                  <a:pt x="549" y="152"/>
                  <a:pt x="548" y="151"/>
                  <a:pt x="548" y="149"/>
                </a:cubicBezTo>
                <a:cubicBezTo>
                  <a:pt x="548" y="147"/>
                  <a:pt x="549" y="145"/>
                  <a:pt x="550" y="144"/>
                </a:cubicBezTo>
                <a:close/>
                <a:moveTo>
                  <a:pt x="400" y="90"/>
                </a:moveTo>
                <a:cubicBezTo>
                  <a:pt x="400" y="87"/>
                  <a:pt x="402" y="84"/>
                  <a:pt x="405" y="83"/>
                </a:cubicBezTo>
                <a:cubicBezTo>
                  <a:pt x="407" y="82"/>
                  <a:pt x="411" y="83"/>
                  <a:pt x="413" y="85"/>
                </a:cubicBezTo>
                <a:cubicBezTo>
                  <a:pt x="460" y="132"/>
                  <a:pt x="460" y="132"/>
                  <a:pt x="460" y="132"/>
                </a:cubicBezTo>
                <a:cubicBezTo>
                  <a:pt x="508" y="85"/>
                  <a:pt x="508" y="85"/>
                  <a:pt x="508" y="85"/>
                </a:cubicBezTo>
                <a:cubicBezTo>
                  <a:pt x="510" y="83"/>
                  <a:pt x="513" y="82"/>
                  <a:pt x="516" y="83"/>
                </a:cubicBezTo>
                <a:cubicBezTo>
                  <a:pt x="519" y="84"/>
                  <a:pt x="521" y="87"/>
                  <a:pt x="521" y="90"/>
                </a:cubicBezTo>
                <a:cubicBezTo>
                  <a:pt x="521" y="196"/>
                  <a:pt x="521" y="196"/>
                  <a:pt x="521" y="196"/>
                </a:cubicBezTo>
                <a:cubicBezTo>
                  <a:pt x="521" y="198"/>
                  <a:pt x="520" y="200"/>
                  <a:pt x="519" y="201"/>
                </a:cubicBezTo>
                <a:cubicBezTo>
                  <a:pt x="466" y="254"/>
                  <a:pt x="466" y="254"/>
                  <a:pt x="466" y="254"/>
                </a:cubicBezTo>
                <a:cubicBezTo>
                  <a:pt x="464" y="256"/>
                  <a:pt x="462" y="256"/>
                  <a:pt x="460" y="256"/>
                </a:cubicBezTo>
                <a:cubicBezTo>
                  <a:pt x="459" y="256"/>
                  <a:pt x="457" y="256"/>
                  <a:pt x="455" y="254"/>
                </a:cubicBezTo>
                <a:cubicBezTo>
                  <a:pt x="402" y="201"/>
                  <a:pt x="402" y="201"/>
                  <a:pt x="402" y="201"/>
                </a:cubicBezTo>
                <a:cubicBezTo>
                  <a:pt x="401" y="200"/>
                  <a:pt x="400" y="198"/>
                  <a:pt x="400" y="196"/>
                </a:cubicBezTo>
                <a:lnTo>
                  <a:pt x="400" y="90"/>
                </a:lnTo>
                <a:close/>
                <a:moveTo>
                  <a:pt x="308" y="144"/>
                </a:moveTo>
                <a:cubicBezTo>
                  <a:pt x="335" y="118"/>
                  <a:pt x="335" y="118"/>
                  <a:pt x="335" y="118"/>
                </a:cubicBezTo>
                <a:cubicBezTo>
                  <a:pt x="336" y="116"/>
                  <a:pt x="338" y="116"/>
                  <a:pt x="339" y="116"/>
                </a:cubicBezTo>
                <a:cubicBezTo>
                  <a:pt x="341" y="116"/>
                  <a:pt x="343" y="116"/>
                  <a:pt x="344" y="118"/>
                </a:cubicBezTo>
                <a:cubicBezTo>
                  <a:pt x="371" y="144"/>
                  <a:pt x="371" y="144"/>
                  <a:pt x="371" y="144"/>
                </a:cubicBezTo>
                <a:cubicBezTo>
                  <a:pt x="373" y="147"/>
                  <a:pt x="373" y="151"/>
                  <a:pt x="371" y="154"/>
                </a:cubicBezTo>
                <a:cubicBezTo>
                  <a:pt x="344" y="180"/>
                  <a:pt x="344" y="180"/>
                  <a:pt x="344" y="180"/>
                </a:cubicBezTo>
                <a:cubicBezTo>
                  <a:pt x="343" y="181"/>
                  <a:pt x="341" y="182"/>
                  <a:pt x="339" y="182"/>
                </a:cubicBezTo>
                <a:cubicBezTo>
                  <a:pt x="338" y="182"/>
                  <a:pt x="336" y="181"/>
                  <a:pt x="335" y="180"/>
                </a:cubicBezTo>
                <a:cubicBezTo>
                  <a:pt x="308" y="154"/>
                  <a:pt x="308" y="154"/>
                  <a:pt x="308" y="154"/>
                </a:cubicBezTo>
                <a:cubicBezTo>
                  <a:pt x="307" y="152"/>
                  <a:pt x="306" y="151"/>
                  <a:pt x="306" y="149"/>
                </a:cubicBezTo>
                <a:cubicBezTo>
                  <a:pt x="306" y="147"/>
                  <a:pt x="307" y="145"/>
                  <a:pt x="308" y="144"/>
                </a:cubicBezTo>
                <a:close/>
                <a:moveTo>
                  <a:pt x="371" y="396"/>
                </a:moveTo>
                <a:cubicBezTo>
                  <a:pt x="344" y="422"/>
                  <a:pt x="344" y="422"/>
                  <a:pt x="344" y="422"/>
                </a:cubicBezTo>
                <a:cubicBezTo>
                  <a:pt x="343" y="424"/>
                  <a:pt x="341" y="424"/>
                  <a:pt x="339" y="424"/>
                </a:cubicBezTo>
                <a:cubicBezTo>
                  <a:pt x="338" y="424"/>
                  <a:pt x="336" y="424"/>
                  <a:pt x="335" y="422"/>
                </a:cubicBezTo>
                <a:cubicBezTo>
                  <a:pt x="308" y="396"/>
                  <a:pt x="308" y="396"/>
                  <a:pt x="308" y="396"/>
                </a:cubicBezTo>
                <a:cubicBezTo>
                  <a:pt x="307" y="395"/>
                  <a:pt x="306" y="393"/>
                  <a:pt x="306" y="391"/>
                </a:cubicBezTo>
                <a:cubicBezTo>
                  <a:pt x="306" y="389"/>
                  <a:pt x="307" y="387"/>
                  <a:pt x="308" y="386"/>
                </a:cubicBezTo>
                <a:cubicBezTo>
                  <a:pt x="335" y="360"/>
                  <a:pt x="335" y="360"/>
                  <a:pt x="335" y="360"/>
                </a:cubicBezTo>
                <a:cubicBezTo>
                  <a:pt x="336" y="358"/>
                  <a:pt x="338" y="358"/>
                  <a:pt x="339" y="358"/>
                </a:cubicBezTo>
                <a:cubicBezTo>
                  <a:pt x="341" y="358"/>
                  <a:pt x="343" y="358"/>
                  <a:pt x="344" y="360"/>
                </a:cubicBezTo>
                <a:cubicBezTo>
                  <a:pt x="371" y="386"/>
                  <a:pt x="371" y="386"/>
                  <a:pt x="371" y="386"/>
                </a:cubicBezTo>
                <a:cubicBezTo>
                  <a:pt x="373" y="389"/>
                  <a:pt x="373" y="393"/>
                  <a:pt x="371" y="396"/>
                </a:cubicBezTo>
                <a:close/>
                <a:moveTo>
                  <a:pt x="385" y="331"/>
                </a:moveTo>
                <a:cubicBezTo>
                  <a:pt x="280" y="331"/>
                  <a:pt x="280" y="331"/>
                  <a:pt x="280" y="331"/>
                </a:cubicBezTo>
                <a:cubicBezTo>
                  <a:pt x="277" y="331"/>
                  <a:pt x="274" y="329"/>
                  <a:pt x="273" y="326"/>
                </a:cubicBezTo>
                <a:cubicBezTo>
                  <a:pt x="271" y="323"/>
                  <a:pt x="272" y="320"/>
                  <a:pt x="274" y="318"/>
                </a:cubicBezTo>
                <a:cubicBezTo>
                  <a:pt x="322" y="270"/>
                  <a:pt x="322" y="270"/>
                  <a:pt x="322" y="270"/>
                </a:cubicBezTo>
                <a:cubicBezTo>
                  <a:pt x="274" y="223"/>
                  <a:pt x="274" y="223"/>
                  <a:pt x="274" y="223"/>
                </a:cubicBezTo>
                <a:cubicBezTo>
                  <a:pt x="272" y="221"/>
                  <a:pt x="271" y="217"/>
                  <a:pt x="273" y="215"/>
                </a:cubicBezTo>
                <a:cubicBezTo>
                  <a:pt x="274" y="212"/>
                  <a:pt x="277" y="210"/>
                  <a:pt x="280" y="210"/>
                </a:cubicBezTo>
                <a:cubicBezTo>
                  <a:pt x="385" y="210"/>
                  <a:pt x="385" y="210"/>
                  <a:pt x="385" y="210"/>
                </a:cubicBezTo>
                <a:cubicBezTo>
                  <a:pt x="387" y="210"/>
                  <a:pt x="389" y="211"/>
                  <a:pt x="391" y="212"/>
                </a:cubicBezTo>
                <a:cubicBezTo>
                  <a:pt x="444" y="265"/>
                  <a:pt x="444" y="265"/>
                  <a:pt x="444" y="265"/>
                </a:cubicBezTo>
                <a:cubicBezTo>
                  <a:pt x="445" y="266"/>
                  <a:pt x="446" y="268"/>
                  <a:pt x="446" y="270"/>
                </a:cubicBezTo>
                <a:cubicBezTo>
                  <a:pt x="446" y="272"/>
                  <a:pt x="445" y="274"/>
                  <a:pt x="444" y="276"/>
                </a:cubicBezTo>
                <a:cubicBezTo>
                  <a:pt x="391" y="329"/>
                  <a:pt x="391" y="329"/>
                  <a:pt x="391" y="329"/>
                </a:cubicBezTo>
                <a:cubicBezTo>
                  <a:pt x="389" y="330"/>
                  <a:pt x="387" y="331"/>
                  <a:pt x="385" y="331"/>
                </a:cubicBezTo>
                <a:close/>
                <a:moveTo>
                  <a:pt x="521" y="452"/>
                </a:moveTo>
                <a:cubicBezTo>
                  <a:pt x="521" y="455"/>
                  <a:pt x="519" y="458"/>
                  <a:pt x="516" y="459"/>
                </a:cubicBezTo>
                <a:cubicBezTo>
                  <a:pt x="515" y="459"/>
                  <a:pt x="514" y="459"/>
                  <a:pt x="513" y="459"/>
                </a:cubicBezTo>
                <a:cubicBezTo>
                  <a:pt x="511" y="459"/>
                  <a:pt x="509" y="459"/>
                  <a:pt x="508" y="457"/>
                </a:cubicBezTo>
                <a:cubicBezTo>
                  <a:pt x="460" y="410"/>
                  <a:pt x="460" y="410"/>
                  <a:pt x="460" y="410"/>
                </a:cubicBezTo>
                <a:cubicBezTo>
                  <a:pt x="413" y="457"/>
                  <a:pt x="413" y="457"/>
                  <a:pt x="413" y="457"/>
                </a:cubicBezTo>
                <a:cubicBezTo>
                  <a:pt x="411" y="459"/>
                  <a:pt x="407" y="460"/>
                  <a:pt x="405" y="459"/>
                </a:cubicBezTo>
                <a:cubicBezTo>
                  <a:pt x="402" y="458"/>
                  <a:pt x="400" y="455"/>
                  <a:pt x="400" y="452"/>
                </a:cubicBezTo>
                <a:cubicBezTo>
                  <a:pt x="400" y="346"/>
                  <a:pt x="400" y="346"/>
                  <a:pt x="400" y="346"/>
                </a:cubicBezTo>
                <a:cubicBezTo>
                  <a:pt x="400" y="344"/>
                  <a:pt x="401" y="342"/>
                  <a:pt x="402" y="341"/>
                </a:cubicBezTo>
                <a:cubicBezTo>
                  <a:pt x="455" y="288"/>
                  <a:pt x="455" y="288"/>
                  <a:pt x="455" y="288"/>
                </a:cubicBezTo>
                <a:cubicBezTo>
                  <a:pt x="458" y="285"/>
                  <a:pt x="463" y="285"/>
                  <a:pt x="466" y="288"/>
                </a:cubicBezTo>
                <a:cubicBezTo>
                  <a:pt x="519" y="341"/>
                  <a:pt x="519" y="341"/>
                  <a:pt x="519" y="341"/>
                </a:cubicBezTo>
                <a:cubicBezTo>
                  <a:pt x="520" y="342"/>
                  <a:pt x="521" y="344"/>
                  <a:pt x="521" y="346"/>
                </a:cubicBezTo>
                <a:lnTo>
                  <a:pt x="521" y="452"/>
                </a:lnTo>
                <a:close/>
                <a:moveTo>
                  <a:pt x="613" y="396"/>
                </a:moveTo>
                <a:cubicBezTo>
                  <a:pt x="586" y="422"/>
                  <a:pt x="586" y="422"/>
                  <a:pt x="586" y="422"/>
                </a:cubicBezTo>
                <a:cubicBezTo>
                  <a:pt x="585" y="424"/>
                  <a:pt x="583" y="424"/>
                  <a:pt x="582" y="424"/>
                </a:cubicBezTo>
                <a:cubicBezTo>
                  <a:pt x="580" y="424"/>
                  <a:pt x="578" y="424"/>
                  <a:pt x="577" y="422"/>
                </a:cubicBezTo>
                <a:cubicBezTo>
                  <a:pt x="550" y="396"/>
                  <a:pt x="550" y="396"/>
                  <a:pt x="550" y="396"/>
                </a:cubicBezTo>
                <a:cubicBezTo>
                  <a:pt x="549" y="395"/>
                  <a:pt x="548" y="393"/>
                  <a:pt x="548" y="391"/>
                </a:cubicBezTo>
                <a:cubicBezTo>
                  <a:pt x="548" y="389"/>
                  <a:pt x="549" y="387"/>
                  <a:pt x="550" y="386"/>
                </a:cubicBezTo>
                <a:cubicBezTo>
                  <a:pt x="577" y="360"/>
                  <a:pt x="577" y="360"/>
                  <a:pt x="577" y="360"/>
                </a:cubicBezTo>
                <a:cubicBezTo>
                  <a:pt x="578" y="358"/>
                  <a:pt x="580" y="358"/>
                  <a:pt x="582" y="358"/>
                </a:cubicBezTo>
                <a:cubicBezTo>
                  <a:pt x="583" y="358"/>
                  <a:pt x="585" y="358"/>
                  <a:pt x="586" y="360"/>
                </a:cubicBezTo>
                <a:cubicBezTo>
                  <a:pt x="613" y="386"/>
                  <a:pt x="613" y="386"/>
                  <a:pt x="613" y="386"/>
                </a:cubicBezTo>
                <a:cubicBezTo>
                  <a:pt x="615" y="389"/>
                  <a:pt x="615" y="393"/>
                  <a:pt x="613" y="396"/>
                </a:cubicBezTo>
                <a:close/>
                <a:moveTo>
                  <a:pt x="641" y="210"/>
                </a:moveTo>
                <a:cubicBezTo>
                  <a:pt x="644" y="210"/>
                  <a:pt x="647" y="212"/>
                  <a:pt x="648" y="215"/>
                </a:cubicBezTo>
                <a:cubicBezTo>
                  <a:pt x="649" y="217"/>
                  <a:pt x="649" y="221"/>
                  <a:pt x="647" y="223"/>
                </a:cubicBezTo>
                <a:cubicBezTo>
                  <a:pt x="599" y="270"/>
                  <a:pt x="599" y="270"/>
                  <a:pt x="599" y="270"/>
                </a:cubicBezTo>
                <a:cubicBezTo>
                  <a:pt x="647" y="318"/>
                  <a:pt x="647" y="318"/>
                  <a:pt x="647" y="318"/>
                </a:cubicBezTo>
                <a:cubicBezTo>
                  <a:pt x="649" y="320"/>
                  <a:pt x="649" y="323"/>
                  <a:pt x="648" y="326"/>
                </a:cubicBezTo>
                <a:cubicBezTo>
                  <a:pt x="647" y="329"/>
                  <a:pt x="644" y="331"/>
                  <a:pt x="641" y="331"/>
                </a:cubicBezTo>
                <a:cubicBezTo>
                  <a:pt x="535" y="331"/>
                  <a:pt x="535" y="331"/>
                  <a:pt x="535" y="331"/>
                </a:cubicBezTo>
                <a:cubicBezTo>
                  <a:pt x="533" y="331"/>
                  <a:pt x="532" y="330"/>
                  <a:pt x="530" y="329"/>
                </a:cubicBezTo>
                <a:cubicBezTo>
                  <a:pt x="477" y="276"/>
                  <a:pt x="477" y="276"/>
                  <a:pt x="477" y="276"/>
                </a:cubicBezTo>
                <a:cubicBezTo>
                  <a:pt x="476" y="274"/>
                  <a:pt x="475" y="272"/>
                  <a:pt x="475" y="270"/>
                </a:cubicBezTo>
                <a:cubicBezTo>
                  <a:pt x="475" y="268"/>
                  <a:pt x="476" y="266"/>
                  <a:pt x="477" y="265"/>
                </a:cubicBezTo>
                <a:cubicBezTo>
                  <a:pt x="530" y="212"/>
                  <a:pt x="530" y="212"/>
                  <a:pt x="530" y="212"/>
                </a:cubicBezTo>
                <a:cubicBezTo>
                  <a:pt x="532" y="211"/>
                  <a:pt x="533" y="210"/>
                  <a:pt x="535" y="210"/>
                </a:cubicBezTo>
                <a:lnTo>
                  <a:pt x="641" y="210"/>
                </a:lnTo>
                <a:close/>
                <a:moveTo>
                  <a:pt x="1162" y="335"/>
                </a:moveTo>
                <a:cubicBezTo>
                  <a:pt x="953" y="335"/>
                  <a:pt x="953" y="335"/>
                  <a:pt x="953" y="335"/>
                </a:cubicBezTo>
                <a:cubicBezTo>
                  <a:pt x="953" y="204"/>
                  <a:pt x="953" y="204"/>
                  <a:pt x="953" y="204"/>
                </a:cubicBezTo>
                <a:cubicBezTo>
                  <a:pt x="1146" y="204"/>
                  <a:pt x="1146" y="204"/>
                  <a:pt x="1146" y="204"/>
                </a:cubicBezTo>
                <a:cubicBezTo>
                  <a:pt x="1146" y="166"/>
                  <a:pt x="1146" y="166"/>
                  <a:pt x="1146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43"/>
                  <a:pt x="953" y="43"/>
                  <a:pt x="953" y="43"/>
                </a:cubicBezTo>
                <a:cubicBezTo>
                  <a:pt x="1163" y="43"/>
                  <a:pt x="1163" y="43"/>
                  <a:pt x="1163" y="43"/>
                </a:cubicBezTo>
                <a:cubicBezTo>
                  <a:pt x="1163" y="5"/>
                  <a:pt x="1163" y="5"/>
                  <a:pt x="1163" y="5"/>
                </a:cubicBezTo>
                <a:cubicBezTo>
                  <a:pt x="911" y="5"/>
                  <a:pt x="911" y="5"/>
                  <a:pt x="911" y="5"/>
                </a:cubicBezTo>
                <a:cubicBezTo>
                  <a:pt x="911" y="373"/>
                  <a:pt x="911" y="373"/>
                  <a:pt x="911" y="373"/>
                </a:cubicBezTo>
                <a:cubicBezTo>
                  <a:pt x="1162" y="373"/>
                  <a:pt x="1162" y="373"/>
                  <a:pt x="1162" y="373"/>
                </a:cubicBezTo>
                <a:lnTo>
                  <a:pt x="1162" y="335"/>
                </a:lnTo>
                <a:close/>
                <a:moveTo>
                  <a:pt x="1011" y="486"/>
                </a:moveTo>
                <a:cubicBezTo>
                  <a:pt x="1003" y="486"/>
                  <a:pt x="995" y="489"/>
                  <a:pt x="991" y="497"/>
                </a:cubicBezTo>
                <a:cubicBezTo>
                  <a:pt x="990" y="497"/>
                  <a:pt x="990" y="497"/>
                  <a:pt x="990" y="497"/>
                </a:cubicBezTo>
                <a:cubicBezTo>
                  <a:pt x="990" y="487"/>
                  <a:pt x="990" y="487"/>
                  <a:pt x="990" y="487"/>
                </a:cubicBezTo>
                <a:cubicBezTo>
                  <a:pt x="981" y="487"/>
                  <a:pt x="981" y="487"/>
                  <a:pt x="981" y="487"/>
                </a:cubicBezTo>
                <a:cubicBezTo>
                  <a:pt x="981" y="546"/>
                  <a:pt x="981" y="546"/>
                  <a:pt x="981" y="546"/>
                </a:cubicBezTo>
                <a:cubicBezTo>
                  <a:pt x="990" y="546"/>
                  <a:pt x="990" y="546"/>
                  <a:pt x="990" y="546"/>
                </a:cubicBezTo>
                <a:cubicBezTo>
                  <a:pt x="990" y="508"/>
                  <a:pt x="990" y="508"/>
                  <a:pt x="990" y="508"/>
                </a:cubicBezTo>
                <a:cubicBezTo>
                  <a:pt x="991" y="500"/>
                  <a:pt x="1001" y="494"/>
                  <a:pt x="1008" y="494"/>
                </a:cubicBezTo>
                <a:cubicBezTo>
                  <a:pt x="1017" y="494"/>
                  <a:pt x="1024" y="499"/>
                  <a:pt x="1024" y="509"/>
                </a:cubicBezTo>
                <a:cubicBezTo>
                  <a:pt x="1024" y="546"/>
                  <a:pt x="1024" y="546"/>
                  <a:pt x="1024" y="546"/>
                </a:cubicBezTo>
                <a:cubicBezTo>
                  <a:pt x="1034" y="546"/>
                  <a:pt x="1034" y="546"/>
                  <a:pt x="1034" y="546"/>
                </a:cubicBezTo>
                <a:cubicBezTo>
                  <a:pt x="1034" y="508"/>
                  <a:pt x="1034" y="508"/>
                  <a:pt x="1034" y="508"/>
                </a:cubicBezTo>
                <a:cubicBezTo>
                  <a:pt x="1034" y="493"/>
                  <a:pt x="1024" y="486"/>
                  <a:pt x="1011" y="486"/>
                </a:cubicBezTo>
                <a:close/>
                <a:moveTo>
                  <a:pt x="1137" y="517"/>
                </a:moveTo>
                <a:cubicBezTo>
                  <a:pt x="1136" y="499"/>
                  <a:pt x="1129" y="486"/>
                  <a:pt x="1109" y="486"/>
                </a:cubicBezTo>
                <a:cubicBezTo>
                  <a:pt x="1091" y="486"/>
                  <a:pt x="1081" y="499"/>
                  <a:pt x="1081" y="516"/>
                </a:cubicBezTo>
                <a:cubicBezTo>
                  <a:pt x="1081" y="537"/>
                  <a:pt x="1092" y="548"/>
                  <a:pt x="1113" y="548"/>
                </a:cubicBezTo>
                <a:cubicBezTo>
                  <a:pt x="1119" y="548"/>
                  <a:pt x="1128" y="546"/>
                  <a:pt x="1134" y="540"/>
                </a:cubicBezTo>
                <a:cubicBezTo>
                  <a:pt x="1134" y="533"/>
                  <a:pt x="1134" y="533"/>
                  <a:pt x="1134" y="533"/>
                </a:cubicBezTo>
                <a:cubicBezTo>
                  <a:pt x="1132" y="533"/>
                  <a:pt x="1132" y="533"/>
                  <a:pt x="1132" y="533"/>
                </a:cubicBezTo>
                <a:cubicBezTo>
                  <a:pt x="1126" y="537"/>
                  <a:pt x="1119" y="539"/>
                  <a:pt x="1113" y="539"/>
                </a:cubicBezTo>
                <a:cubicBezTo>
                  <a:pt x="1102" y="539"/>
                  <a:pt x="1096" y="535"/>
                  <a:pt x="1092" y="527"/>
                </a:cubicBezTo>
                <a:cubicBezTo>
                  <a:pt x="1091" y="525"/>
                  <a:pt x="1090" y="522"/>
                  <a:pt x="1090" y="518"/>
                </a:cubicBezTo>
                <a:cubicBezTo>
                  <a:pt x="1090" y="517"/>
                  <a:pt x="1090" y="517"/>
                  <a:pt x="1090" y="517"/>
                </a:cubicBezTo>
                <a:lnTo>
                  <a:pt x="1137" y="517"/>
                </a:lnTo>
                <a:close/>
                <a:moveTo>
                  <a:pt x="1109" y="493"/>
                </a:moveTo>
                <a:cubicBezTo>
                  <a:pt x="1120" y="493"/>
                  <a:pt x="1126" y="500"/>
                  <a:pt x="1127" y="510"/>
                </a:cubicBezTo>
                <a:cubicBezTo>
                  <a:pt x="1091" y="510"/>
                  <a:pt x="1091" y="510"/>
                  <a:pt x="1091" y="510"/>
                </a:cubicBezTo>
                <a:cubicBezTo>
                  <a:pt x="1093" y="500"/>
                  <a:pt x="1098" y="493"/>
                  <a:pt x="1109" y="493"/>
                </a:cubicBezTo>
                <a:close/>
                <a:moveTo>
                  <a:pt x="1551" y="501"/>
                </a:moveTo>
                <a:cubicBezTo>
                  <a:pt x="1551" y="496"/>
                  <a:pt x="1556" y="493"/>
                  <a:pt x="1566" y="493"/>
                </a:cubicBezTo>
                <a:cubicBezTo>
                  <a:pt x="1574" y="493"/>
                  <a:pt x="1580" y="498"/>
                  <a:pt x="1582" y="500"/>
                </a:cubicBezTo>
                <a:cubicBezTo>
                  <a:pt x="1585" y="500"/>
                  <a:pt x="1585" y="500"/>
                  <a:pt x="1585" y="500"/>
                </a:cubicBezTo>
                <a:cubicBezTo>
                  <a:pt x="1585" y="491"/>
                  <a:pt x="1585" y="491"/>
                  <a:pt x="1585" y="491"/>
                </a:cubicBezTo>
                <a:cubicBezTo>
                  <a:pt x="1581" y="489"/>
                  <a:pt x="1575" y="486"/>
                  <a:pt x="1566" y="486"/>
                </a:cubicBezTo>
                <a:cubicBezTo>
                  <a:pt x="1550" y="486"/>
                  <a:pt x="1542" y="493"/>
                  <a:pt x="1542" y="503"/>
                </a:cubicBezTo>
                <a:cubicBezTo>
                  <a:pt x="1542" y="523"/>
                  <a:pt x="1579" y="519"/>
                  <a:pt x="1579" y="531"/>
                </a:cubicBezTo>
                <a:cubicBezTo>
                  <a:pt x="1579" y="537"/>
                  <a:pt x="1574" y="540"/>
                  <a:pt x="1564" y="540"/>
                </a:cubicBezTo>
                <a:cubicBezTo>
                  <a:pt x="1557" y="540"/>
                  <a:pt x="1548" y="536"/>
                  <a:pt x="1545" y="532"/>
                </a:cubicBezTo>
                <a:cubicBezTo>
                  <a:pt x="1542" y="532"/>
                  <a:pt x="1542" y="532"/>
                  <a:pt x="1542" y="532"/>
                </a:cubicBezTo>
                <a:cubicBezTo>
                  <a:pt x="1542" y="541"/>
                  <a:pt x="1542" y="541"/>
                  <a:pt x="1542" y="541"/>
                </a:cubicBezTo>
                <a:cubicBezTo>
                  <a:pt x="1548" y="545"/>
                  <a:pt x="1555" y="548"/>
                  <a:pt x="1564" y="548"/>
                </a:cubicBezTo>
                <a:cubicBezTo>
                  <a:pt x="1581" y="548"/>
                  <a:pt x="1588" y="541"/>
                  <a:pt x="1588" y="531"/>
                </a:cubicBezTo>
                <a:cubicBezTo>
                  <a:pt x="1588" y="510"/>
                  <a:pt x="1551" y="516"/>
                  <a:pt x="1551" y="501"/>
                </a:cubicBezTo>
                <a:close/>
                <a:moveTo>
                  <a:pt x="1061" y="467"/>
                </a:moveTo>
                <a:cubicBezTo>
                  <a:pt x="1051" y="467"/>
                  <a:pt x="1051" y="467"/>
                  <a:pt x="1051" y="467"/>
                </a:cubicBezTo>
                <a:cubicBezTo>
                  <a:pt x="1051" y="487"/>
                  <a:pt x="1051" y="487"/>
                  <a:pt x="1051" y="487"/>
                </a:cubicBezTo>
                <a:cubicBezTo>
                  <a:pt x="1042" y="487"/>
                  <a:pt x="1042" y="487"/>
                  <a:pt x="1042" y="487"/>
                </a:cubicBezTo>
                <a:cubicBezTo>
                  <a:pt x="1042" y="494"/>
                  <a:pt x="1042" y="494"/>
                  <a:pt x="1042" y="494"/>
                </a:cubicBezTo>
                <a:cubicBezTo>
                  <a:pt x="1051" y="494"/>
                  <a:pt x="1051" y="494"/>
                  <a:pt x="1051" y="494"/>
                </a:cubicBezTo>
                <a:cubicBezTo>
                  <a:pt x="1051" y="529"/>
                  <a:pt x="1051" y="529"/>
                  <a:pt x="1051" y="529"/>
                </a:cubicBezTo>
                <a:cubicBezTo>
                  <a:pt x="1051" y="542"/>
                  <a:pt x="1056" y="546"/>
                  <a:pt x="1066" y="546"/>
                </a:cubicBezTo>
                <a:cubicBezTo>
                  <a:pt x="1074" y="546"/>
                  <a:pt x="1074" y="546"/>
                  <a:pt x="1074" y="546"/>
                </a:cubicBezTo>
                <a:cubicBezTo>
                  <a:pt x="1074" y="539"/>
                  <a:pt x="1074" y="539"/>
                  <a:pt x="1074" y="539"/>
                </a:cubicBezTo>
                <a:cubicBezTo>
                  <a:pt x="1068" y="539"/>
                  <a:pt x="1068" y="539"/>
                  <a:pt x="1068" y="539"/>
                </a:cubicBezTo>
                <a:cubicBezTo>
                  <a:pt x="1063" y="539"/>
                  <a:pt x="1060" y="537"/>
                  <a:pt x="1060" y="530"/>
                </a:cubicBezTo>
                <a:cubicBezTo>
                  <a:pt x="1060" y="494"/>
                  <a:pt x="1060" y="494"/>
                  <a:pt x="1060" y="494"/>
                </a:cubicBezTo>
                <a:cubicBezTo>
                  <a:pt x="1075" y="494"/>
                  <a:pt x="1075" y="494"/>
                  <a:pt x="1075" y="494"/>
                </a:cubicBezTo>
                <a:cubicBezTo>
                  <a:pt x="1075" y="487"/>
                  <a:pt x="1075" y="487"/>
                  <a:pt x="1075" y="487"/>
                </a:cubicBezTo>
                <a:cubicBezTo>
                  <a:pt x="1060" y="487"/>
                  <a:pt x="1060" y="487"/>
                  <a:pt x="1060" y="487"/>
                </a:cubicBezTo>
                <a:lnTo>
                  <a:pt x="1061" y="4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Picture Placeholder 75">
            <a:extLst>
              <a:ext uri="{FF2B5EF4-FFF2-40B4-BE49-F238E27FC236}">
                <a16:creationId xmlns:a16="http://schemas.microsoft.com/office/drawing/2014/main" id="{00206620-3FC5-4B9C-8EF2-A071D624A30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48501" y="659501"/>
            <a:ext cx="3473101" cy="2505974"/>
          </a:xfrm>
          <a:custGeom>
            <a:avLst/>
            <a:gdLst>
              <a:gd name="connsiteX0" fmla="*/ 1348260 w 3473101"/>
              <a:gd name="connsiteY0" fmla="*/ 0 h 2505974"/>
              <a:gd name="connsiteX1" fmla="*/ 2124379 w 3473101"/>
              <a:gd name="connsiteY1" fmla="*/ 0 h 2505974"/>
              <a:gd name="connsiteX2" fmla="*/ 2576708 w 3473101"/>
              <a:gd name="connsiteY2" fmla="*/ 106790 h 2505974"/>
              <a:gd name="connsiteX3" fmla="*/ 2913856 w 3473101"/>
              <a:gd name="connsiteY3" fmla="*/ 275333 h 2505974"/>
              <a:gd name="connsiteX4" fmla="*/ 3421033 w 3473101"/>
              <a:gd name="connsiteY4" fmla="*/ 1499845 h 2505974"/>
              <a:gd name="connsiteX5" fmla="*/ 3319404 w 3473101"/>
              <a:gd name="connsiteY5" fmla="*/ 1814411 h 2505974"/>
              <a:gd name="connsiteX6" fmla="*/ 2520414 w 3473101"/>
              <a:gd name="connsiteY6" fmla="*/ 2493287 h 2505974"/>
              <a:gd name="connsiteX7" fmla="*/ 2360991 w 3473101"/>
              <a:gd name="connsiteY7" fmla="*/ 2505974 h 2505974"/>
              <a:gd name="connsiteX8" fmla="*/ 1009289 w 3473101"/>
              <a:gd name="connsiteY8" fmla="*/ 2505974 h 2505974"/>
              <a:gd name="connsiteX9" fmla="*/ 907697 w 3473101"/>
              <a:gd name="connsiteY9" fmla="*/ 2500844 h 2505974"/>
              <a:gd name="connsiteX10" fmla="*/ 4885 w 3473101"/>
              <a:gd name="connsiteY10" fmla="*/ 1598033 h 2505974"/>
              <a:gd name="connsiteX11" fmla="*/ 0 w 3473101"/>
              <a:gd name="connsiteY11" fmla="*/ 1501293 h 2505974"/>
              <a:gd name="connsiteX12" fmla="*/ 0 w 3473101"/>
              <a:gd name="connsiteY12" fmla="*/ 1345189 h 2505974"/>
              <a:gd name="connsiteX13" fmla="*/ 19273 w 3473101"/>
              <a:gd name="connsiteY13" fmla="*/ 1150325 h 2505974"/>
              <a:gd name="connsiteX14" fmla="*/ 295903 w 3473101"/>
              <a:gd name="connsiteY14" fmla="*/ 633389 h 2505974"/>
              <a:gd name="connsiteX15" fmla="*/ 633052 w 3473101"/>
              <a:gd name="connsiteY15" fmla="*/ 296240 h 2505974"/>
              <a:gd name="connsiteX16" fmla="*/ 1348260 w 3473101"/>
              <a:gd name="connsiteY16" fmla="*/ 0 h 250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73101" h="2505974">
                <a:moveTo>
                  <a:pt x="1348260" y="0"/>
                </a:moveTo>
                <a:lnTo>
                  <a:pt x="2124379" y="0"/>
                </a:lnTo>
                <a:cubicBezTo>
                  <a:pt x="2281372" y="0"/>
                  <a:pt x="2436235" y="36522"/>
                  <a:pt x="2576708" y="106790"/>
                </a:cubicBezTo>
                <a:lnTo>
                  <a:pt x="2913856" y="275333"/>
                </a:lnTo>
                <a:cubicBezTo>
                  <a:pt x="3364055" y="500465"/>
                  <a:pt x="3580219" y="1022352"/>
                  <a:pt x="3421033" y="1499845"/>
                </a:cubicBezTo>
                <a:lnTo>
                  <a:pt x="3319404" y="1814411"/>
                </a:lnTo>
                <a:cubicBezTo>
                  <a:pt x="3198916" y="2175814"/>
                  <a:pt x="2887934" y="2434310"/>
                  <a:pt x="2520414" y="2493287"/>
                </a:cubicBezTo>
                <a:lnTo>
                  <a:pt x="2360991" y="2505974"/>
                </a:lnTo>
                <a:lnTo>
                  <a:pt x="1009289" y="2505974"/>
                </a:lnTo>
                <a:lnTo>
                  <a:pt x="907697" y="2500844"/>
                </a:lnTo>
                <a:cubicBezTo>
                  <a:pt x="431673" y="2452501"/>
                  <a:pt x="53229" y="2074057"/>
                  <a:pt x="4885" y="1598033"/>
                </a:cubicBezTo>
                <a:lnTo>
                  <a:pt x="0" y="1501293"/>
                </a:lnTo>
                <a:lnTo>
                  <a:pt x="0" y="1345189"/>
                </a:lnTo>
                <a:lnTo>
                  <a:pt x="19273" y="1150325"/>
                </a:lnTo>
                <a:cubicBezTo>
                  <a:pt x="58128" y="955891"/>
                  <a:pt x="153623" y="775621"/>
                  <a:pt x="295903" y="633389"/>
                </a:cubicBezTo>
                <a:lnTo>
                  <a:pt x="633052" y="296240"/>
                </a:lnTo>
                <a:cubicBezTo>
                  <a:pt x="822759" y="106533"/>
                  <a:pt x="1080024" y="0"/>
                  <a:pt x="134826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76">
            <a:extLst>
              <a:ext uri="{FF2B5EF4-FFF2-40B4-BE49-F238E27FC236}">
                <a16:creationId xmlns:a16="http://schemas.microsoft.com/office/drawing/2014/main" id="{2BF2708C-642F-4768-BAD8-F6B3AA238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65008" y="3196422"/>
            <a:ext cx="4388823" cy="3038631"/>
          </a:xfrm>
          <a:custGeom>
            <a:avLst/>
            <a:gdLst>
              <a:gd name="connsiteX0" fmla="*/ 1519143 w 4388823"/>
              <a:gd name="connsiteY0" fmla="*/ 0 h 3038631"/>
              <a:gd name="connsiteX1" fmla="*/ 2869539 w 4388823"/>
              <a:gd name="connsiteY1" fmla="*/ 0 h 3038631"/>
              <a:gd name="connsiteX2" fmla="*/ 3585785 w 4388823"/>
              <a:gd name="connsiteY2" fmla="*/ 296696 h 3038631"/>
              <a:gd name="connsiteX3" fmla="*/ 4092192 w 4388823"/>
              <a:gd name="connsiteY3" fmla="*/ 803165 h 3038631"/>
              <a:gd name="connsiteX4" fmla="*/ 4388823 w 4388823"/>
              <a:gd name="connsiteY4" fmla="*/ 1519347 h 3038631"/>
              <a:gd name="connsiteX5" fmla="*/ 4388823 w 4388823"/>
              <a:gd name="connsiteY5" fmla="*/ 2025754 h 3038631"/>
              <a:gd name="connsiteX6" fmla="*/ 3375947 w 4388823"/>
              <a:gd name="connsiteY6" fmla="*/ 3038631 h 3038631"/>
              <a:gd name="connsiteX7" fmla="*/ 1519143 w 4388823"/>
              <a:gd name="connsiteY7" fmla="*/ 3038631 h 3038631"/>
              <a:gd name="connsiteX8" fmla="*/ 803087 w 4388823"/>
              <a:gd name="connsiteY8" fmla="*/ 2742063 h 3038631"/>
              <a:gd name="connsiteX9" fmla="*/ 296616 w 4388823"/>
              <a:gd name="connsiteY9" fmla="*/ 2235593 h 3038631"/>
              <a:gd name="connsiteX10" fmla="*/ 296616 w 4388823"/>
              <a:gd name="connsiteY10" fmla="*/ 803165 h 3038631"/>
              <a:gd name="connsiteX11" fmla="*/ 803087 w 4388823"/>
              <a:gd name="connsiteY11" fmla="*/ 296696 h 3038631"/>
              <a:gd name="connsiteX12" fmla="*/ 1519143 w 4388823"/>
              <a:gd name="connsiteY12" fmla="*/ 0 h 3038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88823" h="3038631">
                <a:moveTo>
                  <a:pt x="1519143" y="0"/>
                </a:moveTo>
                <a:lnTo>
                  <a:pt x="2869539" y="0"/>
                </a:lnTo>
                <a:cubicBezTo>
                  <a:pt x="3138171" y="0"/>
                  <a:pt x="3395755" y="106792"/>
                  <a:pt x="3585785" y="296696"/>
                </a:cubicBezTo>
                <a:lnTo>
                  <a:pt x="4092192" y="803165"/>
                </a:lnTo>
                <a:cubicBezTo>
                  <a:pt x="4282095" y="993132"/>
                  <a:pt x="4388823" y="1250778"/>
                  <a:pt x="4388823" y="1519347"/>
                </a:cubicBezTo>
                <a:lnTo>
                  <a:pt x="4388823" y="2025754"/>
                </a:lnTo>
                <a:cubicBezTo>
                  <a:pt x="4388823" y="2585176"/>
                  <a:pt x="3935304" y="3038631"/>
                  <a:pt x="3375947" y="3038631"/>
                </a:cubicBezTo>
                <a:lnTo>
                  <a:pt x="1519143" y="3038631"/>
                </a:lnTo>
                <a:cubicBezTo>
                  <a:pt x="1250574" y="3038631"/>
                  <a:pt x="992989" y="2931902"/>
                  <a:pt x="803087" y="2742063"/>
                </a:cubicBezTo>
                <a:lnTo>
                  <a:pt x="296616" y="2235593"/>
                </a:lnTo>
                <a:cubicBezTo>
                  <a:pt x="-98871" y="1840042"/>
                  <a:pt x="-98871" y="1198780"/>
                  <a:pt x="296616" y="803165"/>
                </a:cubicBezTo>
                <a:lnTo>
                  <a:pt x="803087" y="296696"/>
                </a:lnTo>
                <a:cubicBezTo>
                  <a:pt x="992926" y="106792"/>
                  <a:pt x="1250574" y="0"/>
                  <a:pt x="1519143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FBDE4E5-EED2-45D1-80FB-7BA6B76603E0}"/>
              </a:ext>
            </a:extLst>
          </p:cNvPr>
          <p:cNvSpPr/>
          <p:nvPr userDrawn="1"/>
        </p:nvSpPr>
        <p:spPr>
          <a:xfrm>
            <a:off x="5767003" y="5664563"/>
            <a:ext cx="570489" cy="57048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277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887" y="657225"/>
            <a:ext cx="7559675" cy="16192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28999"/>
            <a:ext cx="7559674" cy="280828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 err="1"/>
              <a:t>Fourh</a:t>
            </a:r>
            <a:r>
              <a:rPr lang="en-US" dirty="0"/>
              <a:t>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8563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662" r:id="rId11"/>
    <p:sldLayoutId id="2147483740" r:id="rId12"/>
    <p:sldLayoutId id="2147483755" r:id="rId13"/>
    <p:sldLayoutId id="2147483668" r:id="rId14"/>
    <p:sldLayoutId id="2147483686" r:id="rId15"/>
    <p:sldLayoutId id="2147483693" r:id="rId16"/>
    <p:sldLayoutId id="2147483694" r:id="rId17"/>
    <p:sldLayoutId id="2147483689" r:id="rId18"/>
    <p:sldLayoutId id="2147483690" r:id="rId19"/>
    <p:sldLayoutId id="2147483695" r:id="rId20"/>
    <p:sldLayoutId id="2147483696" r:id="rId21"/>
    <p:sldLayoutId id="2147483691" r:id="rId22"/>
    <p:sldLayoutId id="2147483692" r:id="rId23"/>
    <p:sldLayoutId id="2147483697" r:id="rId24"/>
    <p:sldLayoutId id="2147483698" r:id="rId25"/>
    <p:sldLayoutId id="2147483688" r:id="rId26"/>
    <p:sldLayoutId id="2147483687" r:id="rId27"/>
    <p:sldLayoutId id="2147483683" r:id="rId28"/>
    <p:sldLayoutId id="2147483725" r:id="rId29"/>
    <p:sldLayoutId id="2147483699" r:id="rId30"/>
    <p:sldLayoutId id="2147483700" r:id="rId31"/>
    <p:sldLayoutId id="2147483703" r:id="rId32"/>
    <p:sldLayoutId id="2147483704" r:id="rId33"/>
    <p:sldLayoutId id="2147483750" r:id="rId34"/>
    <p:sldLayoutId id="2147483751" r:id="rId35"/>
    <p:sldLayoutId id="2147483705" r:id="rId36"/>
    <p:sldLayoutId id="2147483706" r:id="rId37"/>
    <p:sldLayoutId id="2147483709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27" r:id="rId45"/>
    <p:sldLayoutId id="2147483756" r:id="rId46"/>
    <p:sldLayoutId id="2147483726" r:id="rId47"/>
    <p:sldLayoutId id="2147483732" r:id="rId48"/>
    <p:sldLayoutId id="2147483733" r:id="rId49"/>
    <p:sldLayoutId id="2147483734" r:id="rId50"/>
    <p:sldLayoutId id="2147483752" r:id="rId51"/>
    <p:sldLayoutId id="2147483753" r:id="rId52"/>
    <p:sldLayoutId id="2147483754" r:id="rId53"/>
    <p:sldLayoutId id="2147483735" r:id="rId54"/>
    <p:sldLayoutId id="2147483736" r:id="rId55"/>
    <p:sldLayoutId id="2147483737" r:id="rId56"/>
    <p:sldLayoutId id="2147483723" r:id="rId57"/>
    <p:sldLayoutId id="2147483739" r:id="rId58"/>
    <p:sldLayoutId id="2147483724" r:id="rId59"/>
    <p:sldLayoutId id="2147483680" r:id="rId60"/>
    <p:sldLayoutId id="2147483738" r:id="rId61"/>
    <p:sldLayoutId id="2147483757" r:id="rId62"/>
    <p:sldLayoutId id="2147483761" r:id="rId63"/>
    <p:sldLayoutId id="2147483763" r:id="rId6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2700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10000" indent="-270000" algn="l" defTabSz="2700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0000" indent="-270000" algn="l" defTabSz="2700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2700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-27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Ain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-27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Ain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540000" indent="-27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2"/>
        </a:buClr>
        <a:buFont typeface="Aino" panose="02000603040504020204" pitchFamily="50" charset="0"/>
        <a:buChar char="+"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810000" indent="-27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1"/>
        </a:buClr>
        <a:buFont typeface="Aino" panose="02000603040504020204" pitchFamily="50" charset="0"/>
        <a:buChar char="+"/>
        <a:defRPr sz="18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66" userDrawn="1">
          <p15:clr>
            <a:srgbClr val="F26B43"/>
          </p15:clr>
        </p15:guide>
        <p15:guide id="4" pos="7514" userDrawn="1">
          <p15:clr>
            <a:srgbClr val="F26B43"/>
          </p15:clr>
        </p15:guide>
        <p15:guide id="5" orient="horz" pos="3929" userDrawn="1">
          <p15:clr>
            <a:srgbClr val="F26B43"/>
          </p15:clr>
        </p15:guide>
        <p15:guide id="6" pos="393" userDrawn="1">
          <p15:clr>
            <a:srgbClr val="F26B43"/>
          </p15:clr>
        </p15:guide>
        <p15:guide id="7" pos="4248" userDrawn="1">
          <p15:clr>
            <a:srgbClr val="F26B43"/>
          </p15:clr>
        </p15:guide>
        <p15:guide id="8" pos="3432" userDrawn="1">
          <p15:clr>
            <a:srgbClr val="F26B43"/>
          </p15:clr>
        </p15:guide>
        <p15:guide id="9" pos="5155" userDrawn="1">
          <p15:clr>
            <a:srgbClr val="F26B43"/>
          </p15:clr>
        </p15:guide>
        <p15:guide id="10" pos="2525" userDrawn="1">
          <p15:clr>
            <a:srgbClr val="F26B43"/>
          </p15:clr>
        </p15:guide>
        <p15:guide id="11" orient="horz" pos="1026" userDrawn="1">
          <p15:clr>
            <a:srgbClr val="F26B43"/>
          </p15:clr>
        </p15:guide>
        <p15:guide id="12" orient="horz" pos="1434" userDrawn="1">
          <p15:clr>
            <a:srgbClr val="F26B43"/>
          </p15:clr>
        </p15:guide>
        <p15:guide id="13" orient="horz" pos="414" userDrawn="1">
          <p15:clr>
            <a:srgbClr val="F26B43"/>
          </p15:clr>
        </p15:guide>
        <p15:guide id="14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4.png"/><Relationship Id="rId4" Type="http://schemas.openxmlformats.org/officeDocument/2006/relationships/image" Target="../media/image3.mp4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4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uc7c1bbb332335d1cac9cab8ccf7.previews.dropboxusercontent.com/p/thumb/AAwx1fNWbyWglzpQiEZykYmun7DagCQ0doxf6jKmD6M-sCjVNy7EyE-IEX_9rtxVMK5hhj4js_5F1RyHh53HYZfcTvTstTXcigILA_JyErq1aq3su7CrSDP4tV9sw8CCmN9jTWvEh7AF-xDc3MkoT0w8a5dxy2RjmhbDCRB5EOqJnmiKK4N4kg1lCY568dZvgqUmc9pLMTPPhDtQgA5CAfVRTqXezcPXi2tZJf76dseb2elBgRgVYTAKMzThhXamre2fvsrtHKi5r98GhzjzljwLhqJEE4s2fDXHko9_jp2EuJiUERAkGBH4ZYs7PtM3VUGlPM1bX7JpBgOm-SfStfN8rn-_8_h6wu2O6vqBoQ-evILNfmKTJiMPEM6_QgGi7o3WHvPE6M3UUlsAATK9GumxQ-gSinCdsJBi6rqR4jwq3ssseQwe_OpK560YH-FrOTEJ9NUaWt38_iRcUzUZiJ2BXYI3ce0tHOz4eTR4vfMKyAQkjJiyzBlMfBctJ2lFyaE5W42coGrQG1aiWHYMk8CypW0IBNkh8oYTjVr7IjVkdbJDPvvf6ebuB9PFts6r1B6WXvvSrBMAXs52yvInB3DFixTyQGE3H931WpGrlZmUBOHvtZENzu07WHKxyQKiNuOrzgS6gnNwNrxMSQCg_UbyiNSnPFcdPWPjcz0-heJkqo9mI0Nr3YgvWUE_CoVnbZzuXljxUBMyhvX0QDjXTaktPwJbt2JpOnDV6sizkQzedzLFVnM79thgSZN27-NJjdnry2rEHITk43le0HKpPINC/p.jpeg?fv_content=true&amp;size_mode=5">
            <a:extLst>
              <a:ext uri="{FF2B5EF4-FFF2-40B4-BE49-F238E27FC236}">
                <a16:creationId xmlns:a16="http://schemas.microsoft.com/office/drawing/2014/main" id="{EDB8D91D-0897-4002-9239-D530F51738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Placeholder 6"/>
          <p:cNvPicPr>
            <a:picLocks noGrp="1" noChangeAspect="1"/>
          </p:cNvPicPr>
          <p:nvPr>
            <p:ph type="pic" sz="quarter" idx="1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461022" y="266915"/>
            <a:ext cx="391886" cy="391886"/>
          </a:xfr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7727" y="-1"/>
            <a:ext cx="1798476" cy="179847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3886" y="3429001"/>
            <a:ext cx="10493293" cy="3429000"/>
          </a:xfrm>
        </p:spPr>
        <p:txBody>
          <a:bodyPr/>
          <a:lstStyle/>
          <a:p>
            <a:r>
              <a:rPr lang="et-EE" dirty="0"/>
              <a:t>Liina Maria Lepik </a:t>
            </a:r>
          </a:p>
          <a:p>
            <a:r>
              <a:rPr lang="et-EE" dirty="0" err="1"/>
              <a:t>Director</a:t>
            </a:r>
            <a:r>
              <a:rPr lang="et-EE" dirty="0"/>
              <a:t> of Estonian Tourist </a:t>
            </a:r>
            <a:r>
              <a:rPr lang="et-EE" dirty="0" err="1"/>
              <a:t>Board</a:t>
            </a:r>
            <a:endParaRPr lang="et-EE" dirty="0"/>
          </a:p>
          <a:p>
            <a:endParaRPr lang="en-US" i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5798" y="658801"/>
            <a:ext cx="10920406" cy="2702964"/>
          </a:xfrm>
        </p:spPr>
        <p:txBody>
          <a:bodyPr/>
          <a:lstStyle/>
          <a:p>
            <a:r>
              <a:rPr lang="et-EE" sz="4800" dirty="0"/>
              <a:t>Estonian </a:t>
            </a:r>
            <a:r>
              <a:rPr lang="et-EE" sz="4800" dirty="0" err="1"/>
              <a:t>tourism</a:t>
            </a:r>
            <a:br>
              <a:rPr lang="et-EE" sz="4800" dirty="0"/>
            </a:br>
            <a:r>
              <a:rPr lang="et-EE" sz="4800" dirty="0"/>
              <a:t>„</a:t>
            </a:r>
            <a:r>
              <a:rPr lang="et-EE" sz="4800" dirty="0" err="1"/>
              <a:t>new</a:t>
            </a:r>
            <a:r>
              <a:rPr lang="et-EE" sz="4800" dirty="0"/>
              <a:t> </a:t>
            </a:r>
            <a:r>
              <a:rPr lang="et-EE" sz="4800" dirty="0" err="1"/>
              <a:t>normal</a:t>
            </a:r>
            <a:r>
              <a:rPr lang="et-EE" sz="4800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2985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7235C-10A9-4B77-84BA-A3BC95E8C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engaging</a:t>
            </a:r>
            <a:r>
              <a:rPr lang="et-EE" dirty="0"/>
              <a:t> </a:t>
            </a:r>
            <a:r>
              <a:rPr lang="et-EE" dirty="0" err="1"/>
              <a:t>sector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D867B9-96D1-48DE-9FD8-8EC44CFC16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7" y="4182845"/>
            <a:ext cx="4889809" cy="788989"/>
          </a:xfrm>
        </p:spPr>
        <p:txBody>
          <a:bodyPr anchor="t" anchorCtr="0"/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et-EE" sz="2400" dirty="0">
                <a:solidFill>
                  <a:schemeClr val="accent1"/>
                </a:solidFill>
              </a:rPr>
              <a:t>Research: </a:t>
            </a:r>
          </a:p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et-EE" sz="2400" dirty="0" err="1">
                <a:solidFill>
                  <a:schemeClr val="accent1"/>
                </a:solidFill>
              </a:rPr>
              <a:t>business</a:t>
            </a:r>
            <a:r>
              <a:rPr lang="et-EE" sz="2400" dirty="0">
                <a:solidFill>
                  <a:schemeClr val="accent1"/>
                </a:solidFill>
              </a:rPr>
              <a:t> </a:t>
            </a:r>
            <a:r>
              <a:rPr lang="et-EE" sz="2400" dirty="0" err="1">
                <a:solidFill>
                  <a:schemeClr val="accent1"/>
                </a:solidFill>
              </a:rPr>
              <a:t>opportunities</a:t>
            </a:r>
            <a:r>
              <a:rPr lang="et-EE" sz="2400" dirty="0">
                <a:solidFill>
                  <a:schemeClr val="accent1"/>
                </a:solidFill>
              </a:rPr>
              <a:t> </a:t>
            </a:r>
            <a:r>
              <a:rPr lang="et-EE" sz="2400" dirty="0" err="1">
                <a:solidFill>
                  <a:schemeClr val="accent1"/>
                </a:solidFill>
              </a:rPr>
              <a:t>for</a:t>
            </a:r>
            <a:r>
              <a:rPr lang="et-EE" sz="2400" dirty="0">
                <a:solidFill>
                  <a:schemeClr val="accent1"/>
                </a:solidFill>
              </a:rPr>
              <a:t> Estonian </a:t>
            </a:r>
            <a:r>
              <a:rPr lang="et-EE" sz="2400" dirty="0" err="1">
                <a:solidFill>
                  <a:schemeClr val="accent1"/>
                </a:solidFill>
              </a:rPr>
              <a:t>tourism</a:t>
            </a:r>
            <a:r>
              <a:rPr lang="et-EE" sz="2400" dirty="0">
                <a:solidFill>
                  <a:schemeClr val="accent1"/>
                </a:solidFill>
              </a:rPr>
              <a:t> </a:t>
            </a:r>
            <a:r>
              <a:rPr lang="et-EE" sz="2400" dirty="0" err="1">
                <a:solidFill>
                  <a:schemeClr val="accent1"/>
                </a:solidFill>
              </a:rPr>
              <a:t>sector</a:t>
            </a:r>
            <a:r>
              <a:rPr lang="et-EE" sz="2400" dirty="0">
                <a:solidFill>
                  <a:schemeClr val="accent1"/>
                </a:solidFill>
              </a:rPr>
              <a:t> (80 </a:t>
            </a:r>
            <a:r>
              <a:rPr lang="et-EE" sz="2400" dirty="0" err="1">
                <a:solidFill>
                  <a:schemeClr val="accent1"/>
                </a:solidFill>
              </a:rPr>
              <a:t>interviews</a:t>
            </a:r>
            <a:r>
              <a:rPr lang="et-EE" sz="2400" dirty="0">
                <a:solidFill>
                  <a:schemeClr val="accent1"/>
                </a:solidFill>
              </a:rPr>
              <a:t> in summer 2020)</a:t>
            </a: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88B997C-BCA6-4FD3-A67B-20C911DB2A81}"/>
              </a:ext>
            </a:extLst>
          </p:cNvPr>
          <p:cNvSpPr/>
          <p:nvPr/>
        </p:nvSpPr>
        <p:spPr>
          <a:xfrm>
            <a:off x="5767003" y="5664563"/>
            <a:ext cx="570489" cy="570489"/>
          </a:xfrm>
          <a:prstGeom prst="ellipse">
            <a:avLst/>
          </a:prstGeom>
          <a:solidFill>
            <a:srgbClr val="AD73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Placeholder 20" descr="A picture containing grass, outdoor, field, water&#10;&#10;Description automatically generated">
            <a:extLst>
              <a:ext uri="{FF2B5EF4-FFF2-40B4-BE49-F238E27FC236}">
                <a16:creationId xmlns:a16="http://schemas.microsoft.com/office/drawing/2014/main" id="{1896DB24-F2DD-4BA1-B660-B18D074983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8" r="11028"/>
          <a:stretch>
            <a:fillRect/>
          </a:stretch>
        </p:blipFill>
        <p:spPr>
          <a:xfrm>
            <a:off x="7403343" y="674625"/>
            <a:ext cx="3473101" cy="2505974"/>
          </a:xfrm>
          <a:custGeom>
            <a:avLst/>
            <a:gdLst>
              <a:gd name="connsiteX0" fmla="*/ 1348260 w 3473101"/>
              <a:gd name="connsiteY0" fmla="*/ 0 h 2505974"/>
              <a:gd name="connsiteX1" fmla="*/ 2124379 w 3473101"/>
              <a:gd name="connsiteY1" fmla="*/ 0 h 2505974"/>
              <a:gd name="connsiteX2" fmla="*/ 2576708 w 3473101"/>
              <a:gd name="connsiteY2" fmla="*/ 106790 h 2505974"/>
              <a:gd name="connsiteX3" fmla="*/ 2913856 w 3473101"/>
              <a:gd name="connsiteY3" fmla="*/ 275333 h 2505974"/>
              <a:gd name="connsiteX4" fmla="*/ 3421033 w 3473101"/>
              <a:gd name="connsiteY4" fmla="*/ 1499845 h 2505974"/>
              <a:gd name="connsiteX5" fmla="*/ 3319404 w 3473101"/>
              <a:gd name="connsiteY5" fmla="*/ 1814411 h 2505974"/>
              <a:gd name="connsiteX6" fmla="*/ 2520414 w 3473101"/>
              <a:gd name="connsiteY6" fmla="*/ 2493287 h 2505974"/>
              <a:gd name="connsiteX7" fmla="*/ 2360991 w 3473101"/>
              <a:gd name="connsiteY7" fmla="*/ 2505974 h 2505974"/>
              <a:gd name="connsiteX8" fmla="*/ 1009289 w 3473101"/>
              <a:gd name="connsiteY8" fmla="*/ 2505974 h 2505974"/>
              <a:gd name="connsiteX9" fmla="*/ 907697 w 3473101"/>
              <a:gd name="connsiteY9" fmla="*/ 2500844 h 2505974"/>
              <a:gd name="connsiteX10" fmla="*/ 4885 w 3473101"/>
              <a:gd name="connsiteY10" fmla="*/ 1598033 h 2505974"/>
              <a:gd name="connsiteX11" fmla="*/ 0 w 3473101"/>
              <a:gd name="connsiteY11" fmla="*/ 1501293 h 2505974"/>
              <a:gd name="connsiteX12" fmla="*/ 0 w 3473101"/>
              <a:gd name="connsiteY12" fmla="*/ 1345189 h 2505974"/>
              <a:gd name="connsiteX13" fmla="*/ 19273 w 3473101"/>
              <a:gd name="connsiteY13" fmla="*/ 1150325 h 2505974"/>
              <a:gd name="connsiteX14" fmla="*/ 295903 w 3473101"/>
              <a:gd name="connsiteY14" fmla="*/ 633389 h 2505974"/>
              <a:gd name="connsiteX15" fmla="*/ 633052 w 3473101"/>
              <a:gd name="connsiteY15" fmla="*/ 296240 h 2505974"/>
              <a:gd name="connsiteX16" fmla="*/ 1348260 w 3473101"/>
              <a:gd name="connsiteY16" fmla="*/ 0 h 250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473101" h="2505974">
                <a:moveTo>
                  <a:pt x="1348260" y="0"/>
                </a:moveTo>
                <a:lnTo>
                  <a:pt x="2124379" y="0"/>
                </a:lnTo>
                <a:cubicBezTo>
                  <a:pt x="2281372" y="0"/>
                  <a:pt x="2436235" y="36522"/>
                  <a:pt x="2576708" y="106790"/>
                </a:cubicBezTo>
                <a:lnTo>
                  <a:pt x="2913856" y="275333"/>
                </a:lnTo>
                <a:cubicBezTo>
                  <a:pt x="3364055" y="500465"/>
                  <a:pt x="3580219" y="1022352"/>
                  <a:pt x="3421033" y="1499845"/>
                </a:cubicBezTo>
                <a:lnTo>
                  <a:pt x="3319404" y="1814411"/>
                </a:lnTo>
                <a:cubicBezTo>
                  <a:pt x="3198916" y="2175814"/>
                  <a:pt x="2887934" y="2434310"/>
                  <a:pt x="2520414" y="2493287"/>
                </a:cubicBezTo>
                <a:lnTo>
                  <a:pt x="2360991" y="2505974"/>
                </a:lnTo>
                <a:lnTo>
                  <a:pt x="1009289" y="2505974"/>
                </a:lnTo>
                <a:lnTo>
                  <a:pt x="907697" y="2500844"/>
                </a:lnTo>
                <a:cubicBezTo>
                  <a:pt x="431673" y="2452501"/>
                  <a:pt x="53229" y="2074057"/>
                  <a:pt x="4885" y="1598033"/>
                </a:cubicBezTo>
                <a:lnTo>
                  <a:pt x="0" y="1501293"/>
                </a:lnTo>
                <a:lnTo>
                  <a:pt x="0" y="1345189"/>
                </a:lnTo>
                <a:lnTo>
                  <a:pt x="19273" y="1150325"/>
                </a:lnTo>
                <a:cubicBezTo>
                  <a:pt x="58128" y="955891"/>
                  <a:pt x="153623" y="775621"/>
                  <a:pt x="295903" y="633389"/>
                </a:cubicBezTo>
                <a:lnTo>
                  <a:pt x="633052" y="296240"/>
                </a:lnTo>
                <a:cubicBezTo>
                  <a:pt x="822759" y="106533"/>
                  <a:pt x="1080024" y="0"/>
                  <a:pt x="1348260" y="0"/>
                </a:cubicBezTo>
                <a:close/>
              </a:path>
            </a:pathLst>
          </a:custGeom>
        </p:spPr>
      </p:pic>
      <p:pic>
        <p:nvPicPr>
          <p:cNvPr id="16" name="Picture Placeholder 24">
            <a:extLst>
              <a:ext uri="{FF2B5EF4-FFF2-40B4-BE49-F238E27FC236}">
                <a16:creationId xmlns:a16="http://schemas.microsoft.com/office/drawing/2014/main" id="{27D0136A-70C3-4293-93E9-3047C28864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5" r="1895"/>
          <a:stretch>
            <a:fillRect/>
          </a:stretch>
        </p:blipFill>
        <p:spPr>
          <a:xfrm>
            <a:off x="6065008" y="3196422"/>
            <a:ext cx="4388823" cy="3038631"/>
          </a:xfrm>
          <a:custGeom>
            <a:avLst/>
            <a:gdLst>
              <a:gd name="connsiteX0" fmla="*/ 1519143 w 4388823"/>
              <a:gd name="connsiteY0" fmla="*/ 0 h 3038631"/>
              <a:gd name="connsiteX1" fmla="*/ 2869539 w 4388823"/>
              <a:gd name="connsiteY1" fmla="*/ 0 h 3038631"/>
              <a:gd name="connsiteX2" fmla="*/ 3585785 w 4388823"/>
              <a:gd name="connsiteY2" fmla="*/ 296696 h 3038631"/>
              <a:gd name="connsiteX3" fmla="*/ 4092192 w 4388823"/>
              <a:gd name="connsiteY3" fmla="*/ 803165 h 3038631"/>
              <a:gd name="connsiteX4" fmla="*/ 4388823 w 4388823"/>
              <a:gd name="connsiteY4" fmla="*/ 1519347 h 3038631"/>
              <a:gd name="connsiteX5" fmla="*/ 4388823 w 4388823"/>
              <a:gd name="connsiteY5" fmla="*/ 2025754 h 3038631"/>
              <a:gd name="connsiteX6" fmla="*/ 3375947 w 4388823"/>
              <a:gd name="connsiteY6" fmla="*/ 3038631 h 3038631"/>
              <a:gd name="connsiteX7" fmla="*/ 1519143 w 4388823"/>
              <a:gd name="connsiteY7" fmla="*/ 3038631 h 3038631"/>
              <a:gd name="connsiteX8" fmla="*/ 803087 w 4388823"/>
              <a:gd name="connsiteY8" fmla="*/ 2742063 h 3038631"/>
              <a:gd name="connsiteX9" fmla="*/ 296616 w 4388823"/>
              <a:gd name="connsiteY9" fmla="*/ 2235593 h 3038631"/>
              <a:gd name="connsiteX10" fmla="*/ 296616 w 4388823"/>
              <a:gd name="connsiteY10" fmla="*/ 803165 h 3038631"/>
              <a:gd name="connsiteX11" fmla="*/ 803087 w 4388823"/>
              <a:gd name="connsiteY11" fmla="*/ 296696 h 3038631"/>
              <a:gd name="connsiteX12" fmla="*/ 1519143 w 4388823"/>
              <a:gd name="connsiteY12" fmla="*/ 0 h 3038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388823" h="3038631">
                <a:moveTo>
                  <a:pt x="1519143" y="0"/>
                </a:moveTo>
                <a:lnTo>
                  <a:pt x="2869539" y="0"/>
                </a:lnTo>
                <a:cubicBezTo>
                  <a:pt x="3138171" y="0"/>
                  <a:pt x="3395755" y="106792"/>
                  <a:pt x="3585785" y="296696"/>
                </a:cubicBezTo>
                <a:lnTo>
                  <a:pt x="4092192" y="803165"/>
                </a:lnTo>
                <a:cubicBezTo>
                  <a:pt x="4282095" y="993132"/>
                  <a:pt x="4388823" y="1250778"/>
                  <a:pt x="4388823" y="1519347"/>
                </a:cubicBezTo>
                <a:lnTo>
                  <a:pt x="4388823" y="2025754"/>
                </a:lnTo>
                <a:cubicBezTo>
                  <a:pt x="4388823" y="2585176"/>
                  <a:pt x="3935304" y="3038631"/>
                  <a:pt x="3375947" y="3038631"/>
                </a:cubicBezTo>
                <a:lnTo>
                  <a:pt x="1519143" y="3038631"/>
                </a:lnTo>
                <a:cubicBezTo>
                  <a:pt x="1250574" y="3038631"/>
                  <a:pt x="992989" y="2931902"/>
                  <a:pt x="803087" y="2742063"/>
                </a:cubicBezTo>
                <a:lnTo>
                  <a:pt x="296616" y="2235593"/>
                </a:lnTo>
                <a:cubicBezTo>
                  <a:pt x="-98871" y="1840042"/>
                  <a:pt x="-98871" y="1198780"/>
                  <a:pt x="296616" y="803165"/>
                </a:cubicBezTo>
                <a:lnTo>
                  <a:pt x="803087" y="296696"/>
                </a:lnTo>
                <a:cubicBezTo>
                  <a:pt x="992926" y="106792"/>
                  <a:pt x="1250574" y="0"/>
                  <a:pt x="1519143" y="0"/>
                </a:cubicBez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F70F00-1964-45B6-8DAD-062F366034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187" y="0"/>
            <a:ext cx="1836925" cy="4987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454788-9DCB-496D-980B-8BAA3664DC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758" y="0"/>
            <a:ext cx="1980354" cy="56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234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close up of a tree&#10;&#10;Description automatically generated">
            <a:extLst>
              <a:ext uri="{FF2B5EF4-FFF2-40B4-BE49-F238E27FC236}">
                <a16:creationId xmlns:a16="http://schemas.microsoft.com/office/drawing/2014/main" id="{D2BF1C9C-55D2-4769-B5BF-EB2618AD701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2" r="20392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809AA9-2BEF-462E-AE0A-A917F6AD43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71D915-22E0-4709-A88B-4F0EA7922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sz="4400" dirty="0" err="1"/>
              <a:t>our</a:t>
            </a:r>
            <a:r>
              <a:rPr lang="et-EE" sz="4400" dirty="0"/>
              <a:t> </a:t>
            </a:r>
            <a:r>
              <a:rPr lang="et-EE" sz="4400" dirty="0" err="1"/>
              <a:t>priorities</a:t>
            </a:r>
            <a:endParaRPr lang="et-EE" sz="4400" dirty="0"/>
          </a:p>
        </p:txBody>
      </p:sp>
      <p:sp>
        <p:nvSpPr>
          <p:cNvPr id="7" name="Teksti kohatäide 6">
            <a:extLst>
              <a:ext uri="{FF2B5EF4-FFF2-40B4-BE49-F238E27FC236}">
                <a16:creationId xmlns:a16="http://schemas.microsoft.com/office/drawing/2014/main" id="{4E77B06B-FCF2-4AC3-87CB-13DB8DE3BA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23472" y="2257620"/>
            <a:ext cx="5111750" cy="3960813"/>
          </a:xfrm>
        </p:spPr>
        <p:txBody>
          <a:bodyPr wrap="square">
            <a:noAutofit/>
          </a:bodyPr>
          <a:lstStyle/>
          <a:p>
            <a:pPr fontAlgn="base"/>
            <a:r>
              <a:rPr lang="et-EE" b="1" dirty="0" err="1"/>
              <a:t>short</a:t>
            </a:r>
            <a:r>
              <a:rPr lang="et-EE" b="1" dirty="0"/>
              <a:t> term: </a:t>
            </a:r>
            <a:r>
              <a:rPr lang="et-EE" dirty="0" err="1"/>
              <a:t>campaigns</a:t>
            </a:r>
            <a:r>
              <a:rPr lang="et-EE" dirty="0"/>
              <a:t> (</a:t>
            </a:r>
            <a:r>
              <a:rPr lang="et-EE" dirty="0" err="1"/>
              <a:t>when</a:t>
            </a:r>
            <a:r>
              <a:rPr lang="et-EE" dirty="0"/>
              <a:t> </a:t>
            </a:r>
            <a:r>
              <a:rPr lang="et-EE" dirty="0" err="1"/>
              <a:t>possible</a:t>
            </a:r>
            <a:r>
              <a:rPr lang="et-EE" dirty="0"/>
              <a:t>) and a „</a:t>
            </a:r>
            <a:r>
              <a:rPr lang="et-EE" dirty="0" err="1"/>
              <a:t>translator</a:t>
            </a:r>
            <a:r>
              <a:rPr lang="et-EE" dirty="0"/>
              <a:t>“ </a:t>
            </a:r>
            <a:r>
              <a:rPr lang="et-EE" dirty="0" err="1"/>
              <a:t>between</a:t>
            </a:r>
            <a:r>
              <a:rPr lang="et-EE" dirty="0"/>
              <a:t> </a:t>
            </a:r>
            <a:r>
              <a:rPr lang="et-EE" dirty="0" err="1"/>
              <a:t>sector</a:t>
            </a:r>
            <a:r>
              <a:rPr lang="et-EE" dirty="0"/>
              <a:t> and </a:t>
            </a:r>
            <a:r>
              <a:rPr lang="et-EE" dirty="0" err="1"/>
              <a:t>government</a:t>
            </a:r>
            <a:endParaRPr lang="et-EE" dirty="0"/>
          </a:p>
          <a:p>
            <a:pPr fontAlgn="base"/>
            <a:endParaRPr lang="et-EE" dirty="0"/>
          </a:p>
          <a:p>
            <a:pPr fontAlgn="base"/>
            <a:r>
              <a:rPr lang="et-EE" b="1" dirty="0" err="1"/>
              <a:t>long</a:t>
            </a:r>
            <a:r>
              <a:rPr lang="et-EE" b="1" dirty="0"/>
              <a:t> term: </a:t>
            </a:r>
            <a:r>
              <a:rPr lang="et-EE" dirty="0" err="1"/>
              <a:t>crisis</a:t>
            </a:r>
            <a:r>
              <a:rPr lang="et-EE" dirty="0"/>
              <a:t> as </a:t>
            </a:r>
            <a:r>
              <a:rPr lang="et-EE" dirty="0" err="1"/>
              <a:t>an</a:t>
            </a:r>
            <a:r>
              <a:rPr lang="et-EE" dirty="0"/>
              <a:t> </a:t>
            </a:r>
            <a:r>
              <a:rPr lang="et-EE" dirty="0" err="1"/>
              <a:t>opportunity</a:t>
            </a:r>
            <a:endParaRPr lang="et-EE" dirty="0"/>
          </a:p>
          <a:p>
            <a:pPr lvl="1" fontAlgn="base"/>
            <a:r>
              <a:rPr lang="et-EE" dirty="0" err="1"/>
              <a:t>smooth</a:t>
            </a:r>
            <a:r>
              <a:rPr lang="et-EE" dirty="0"/>
              <a:t> </a:t>
            </a:r>
            <a:r>
              <a:rPr lang="et-EE" dirty="0" err="1"/>
              <a:t>customer</a:t>
            </a:r>
            <a:r>
              <a:rPr lang="et-EE" dirty="0"/>
              <a:t> </a:t>
            </a:r>
            <a:r>
              <a:rPr lang="et-EE" dirty="0" err="1"/>
              <a:t>journey</a:t>
            </a:r>
            <a:endParaRPr lang="et-EE" dirty="0"/>
          </a:p>
          <a:p>
            <a:pPr lvl="1" fontAlgn="base"/>
            <a:r>
              <a:rPr lang="et-EE" dirty="0" err="1"/>
              <a:t>hospitality</a:t>
            </a:r>
            <a:endParaRPr lang="et-EE" dirty="0"/>
          </a:p>
          <a:p>
            <a:pPr lvl="1" fontAlgn="base"/>
            <a:r>
              <a:rPr lang="et-EE" dirty="0"/>
              <a:t>5-8 </a:t>
            </a:r>
            <a:r>
              <a:rPr lang="et-EE" dirty="0" err="1"/>
              <a:t>DMOs</a:t>
            </a:r>
            <a:endParaRPr lang="et-EE" dirty="0"/>
          </a:p>
          <a:p>
            <a:pPr lvl="1" fontAlgn="base"/>
            <a:r>
              <a:rPr lang="et-EE" dirty="0" err="1"/>
              <a:t>renewed</a:t>
            </a:r>
            <a:r>
              <a:rPr lang="et-EE" dirty="0"/>
              <a:t> </a:t>
            </a:r>
            <a:r>
              <a:rPr lang="et-EE" dirty="0" err="1"/>
              <a:t>business</a:t>
            </a:r>
            <a:r>
              <a:rPr lang="et-EE" dirty="0"/>
              <a:t> </a:t>
            </a:r>
            <a:r>
              <a:rPr lang="et-EE" dirty="0" err="1"/>
              <a:t>models</a:t>
            </a:r>
            <a:endParaRPr lang="et-EE" dirty="0"/>
          </a:p>
          <a:p>
            <a:pPr lvl="1" fontAlgn="base"/>
            <a:r>
              <a:rPr lang="et-EE" dirty="0" err="1"/>
              <a:t>digital</a:t>
            </a:r>
            <a:r>
              <a:rPr lang="et-EE" dirty="0"/>
              <a:t> </a:t>
            </a:r>
            <a:r>
              <a:rPr lang="et-EE" dirty="0" err="1"/>
              <a:t>solutions</a:t>
            </a:r>
            <a:endParaRPr lang="et-EE" dirty="0"/>
          </a:p>
          <a:p>
            <a:pPr lvl="1" fontAlgn="base"/>
            <a:r>
              <a:rPr lang="et-EE" dirty="0" err="1"/>
              <a:t>sustainable</a:t>
            </a:r>
            <a:r>
              <a:rPr lang="et-EE" dirty="0"/>
              <a:t> </a:t>
            </a:r>
            <a:r>
              <a:rPr lang="et-EE" dirty="0" err="1"/>
              <a:t>tourism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29406168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6971798-1FC3-4773-AD2F-45D19B3ECB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68800" cy="766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DF4090-0043-4C0F-BCEF-F9CFF1E1F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/>
              <a:t>Thank</a:t>
            </a:r>
            <a:r>
              <a:rPr lang="et-EE" dirty="0"/>
              <a:t> </a:t>
            </a:r>
            <a:r>
              <a:rPr lang="et-EE" dirty="0" err="1"/>
              <a:t>you</a:t>
            </a:r>
            <a:r>
              <a:rPr lang="et-EE" dirty="0"/>
              <a:t>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DAD2CF-7C15-4D9E-B9C5-8FAA5E725C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t-EE" dirty="0"/>
              <a:t>Liina Maria Lepik</a:t>
            </a:r>
          </a:p>
          <a:p>
            <a:r>
              <a:rPr lang="et-EE" dirty="0"/>
              <a:t>Liinamaria.lepik@eas.e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2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18EA78C-26B4-4E2A-BD53-01F8A2BFD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891" y="389211"/>
            <a:ext cx="9757064" cy="637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523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E443448-1654-47F5-8C16-CE5B214590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409" y="53779"/>
            <a:ext cx="10176601" cy="633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9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42646-11AE-486E-8004-EAEDAEC45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318" y="23521"/>
            <a:ext cx="9486900" cy="6774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6453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A175ABB-C018-4B96-8ED7-348878656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58801"/>
            <a:ext cx="4470627" cy="1543223"/>
          </a:xfrm>
        </p:spPr>
        <p:txBody>
          <a:bodyPr/>
          <a:lstStyle/>
          <a:p>
            <a:r>
              <a:rPr lang="et-EE" dirty="0"/>
              <a:t>5 </a:t>
            </a:r>
            <a:r>
              <a:rPr lang="et-EE" dirty="0" err="1"/>
              <a:t>campaigns</a:t>
            </a:r>
            <a:r>
              <a:rPr lang="et-EE" dirty="0"/>
              <a:t> in summer</a:t>
            </a: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696B5D72-C41E-4E7A-BC81-AE1ED8EA0509}"/>
              </a:ext>
            </a:extLst>
          </p:cNvPr>
          <p:cNvSpPr txBox="1">
            <a:spLocks/>
          </p:cNvSpPr>
          <p:nvPr/>
        </p:nvSpPr>
        <p:spPr>
          <a:xfrm>
            <a:off x="524360" y="3429000"/>
            <a:ext cx="4470627" cy="15432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2800" dirty="0">
                <a:latin typeface="+mn-lt"/>
              </a:rPr>
              <a:t>+ </a:t>
            </a:r>
            <a:r>
              <a:rPr lang="et-EE" sz="2800" dirty="0" err="1">
                <a:latin typeface="+mn-lt"/>
              </a:rPr>
              <a:t>domestic</a:t>
            </a:r>
            <a:endParaRPr lang="et-EE" sz="2800" dirty="0">
              <a:latin typeface="+mn-lt"/>
            </a:endParaRPr>
          </a:p>
          <a:p>
            <a:r>
              <a:rPr lang="et-EE" sz="2800" dirty="0">
                <a:latin typeface="+mn-lt"/>
              </a:rPr>
              <a:t>+ </a:t>
            </a:r>
            <a:r>
              <a:rPr lang="et-EE" sz="2800" dirty="0" err="1">
                <a:latin typeface="+mn-lt"/>
              </a:rPr>
              <a:t>Finland</a:t>
            </a:r>
            <a:endParaRPr lang="et-EE" sz="2800" dirty="0">
              <a:latin typeface="+mn-lt"/>
            </a:endParaRPr>
          </a:p>
          <a:p>
            <a:r>
              <a:rPr lang="et-EE" sz="2800" dirty="0">
                <a:latin typeface="+mn-lt"/>
              </a:rPr>
              <a:t>+ Latvia</a:t>
            </a:r>
          </a:p>
          <a:p>
            <a:endParaRPr lang="et-EE" sz="2800" dirty="0">
              <a:latin typeface="+mn-lt"/>
            </a:endParaRPr>
          </a:p>
          <a:p>
            <a:r>
              <a:rPr lang="et-EE" sz="2800" dirty="0">
                <a:latin typeface="+mn-lt"/>
              </a:rPr>
              <a:t>2 </a:t>
            </a:r>
            <a:r>
              <a:rPr lang="et-EE" sz="2800" dirty="0" err="1">
                <a:latin typeface="+mn-lt"/>
              </a:rPr>
              <a:t>Latvian</a:t>
            </a:r>
            <a:r>
              <a:rPr lang="et-EE" sz="2800" dirty="0">
                <a:latin typeface="+mn-lt"/>
              </a:rPr>
              <a:t> </a:t>
            </a:r>
            <a:r>
              <a:rPr lang="et-EE" sz="2800" dirty="0" err="1">
                <a:latin typeface="+mn-lt"/>
              </a:rPr>
              <a:t>co-campaigns</a:t>
            </a:r>
            <a:endParaRPr lang="et-EE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5957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1">
            <a:extLst>
              <a:ext uri="{FF2B5EF4-FFF2-40B4-BE49-F238E27FC236}">
                <a16:creationId xmlns:a16="http://schemas.microsoft.com/office/drawing/2014/main" id="{354A674A-2DE6-4F85-97F0-97D002FBA9E5}"/>
              </a:ext>
            </a:extLst>
          </p:cNvPr>
          <p:cNvGrpSpPr/>
          <p:nvPr/>
        </p:nvGrpSpPr>
        <p:grpSpPr>
          <a:xfrm>
            <a:off x="2703733" y="834165"/>
            <a:ext cx="8872448" cy="5403123"/>
            <a:chOff x="1784469" y="886872"/>
            <a:chExt cx="9301166" cy="5664203"/>
          </a:xfrm>
        </p:grpSpPr>
        <p:grpSp>
          <p:nvGrpSpPr>
            <p:cNvPr id="63" name="Rühm 4">
              <a:extLst>
                <a:ext uri="{FF2B5EF4-FFF2-40B4-BE49-F238E27FC236}">
                  <a16:creationId xmlns:a16="http://schemas.microsoft.com/office/drawing/2014/main" id="{95B5E2B0-82B4-497E-8205-B43DE201E4B3}"/>
                </a:ext>
              </a:extLst>
            </p:cNvPr>
            <p:cNvGrpSpPr/>
            <p:nvPr/>
          </p:nvGrpSpPr>
          <p:grpSpPr>
            <a:xfrm>
              <a:off x="1784469" y="886872"/>
              <a:ext cx="9301166" cy="5664203"/>
              <a:chOff x="2636838" y="658813"/>
              <a:chExt cx="9301166" cy="5664203"/>
            </a:xfrm>
          </p:grpSpPr>
          <p:sp>
            <p:nvSpPr>
              <p:cNvPr id="70" name="Freeform 5">
                <a:extLst>
                  <a:ext uri="{FF2B5EF4-FFF2-40B4-BE49-F238E27FC236}">
                    <a16:creationId xmlns:a16="http://schemas.microsoft.com/office/drawing/2014/main" id="{D2ADA936-BEC5-4AA2-B3E5-2041063C3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0053" y="4776790"/>
                <a:ext cx="2093913" cy="1546226"/>
              </a:xfrm>
              <a:custGeom>
                <a:avLst/>
                <a:gdLst>
                  <a:gd name="T0" fmla="*/ 219 w 1249"/>
                  <a:gd name="T1" fmla="*/ 266 h 925"/>
                  <a:gd name="T2" fmla="*/ 339 w 1249"/>
                  <a:gd name="T3" fmla="*/ 267 h 925"/>
                  <a:gd name="T4" fmla="*/ 503 w 1249"/>
                  <a:gd name="T5" fmla="*/ 249 h 925"/>
                  <a:gd name="T6" fmla="*/ 588 w 1249"/>
                  <a:gd name="T7" fmla="*/ 265 h 925"/>
                  <a:gd name="T8" fmla="*/ 703 w 1249"/>
                  <a:gd name="T9" fmla="*/ 278 h 925"/>
                  <a:gd name="T10" fmla="*/ 811 w 1249"/>
                  <a:gd name="T11" fmla="*/ 291 h 925"/>
                  <a:gd name="T12" fmla="*/ 872 w 1249"/>
                  <a:gd name="T13" fmla="*/ 211 h 925"/>
                  <a:gd name="T14" fmla="*/ 932 w 1249"/>
                  <a:gd name="T15" fmla="*/ 153 h 925"/>
                  <a:gd name="T16" fmla="*/ 964 w 1249"/>
                  <a:gd name="T17" fmla="*/ 97 h 925"/>
                  <a:gd name="T18" fmla="*/ 1004 w 1249"/>
                  <a:gd name="T19" fmla="*/ 28 h 925"/>
                  <a:gd name="T20" fmla="*/ 1029 w 1249"/>
                  <a:gd name="T21" fmla="*/ 21 h 925"/>
                  <a:gd name="T22" fmla="*/ 1048 w 1249"/>
                  <a:gd name="T23" fmla="*/ 53 h 925"/>
                  <a:gd name="T24" fmla="*/ 1042 w 1249"/>
                  <a:gd name="T25" fmla="*/ 115 h 925"/>
                  <a:gd name="T26" fmla="*/ 1065 w 1249"/>
                  <a:gd name="T27" fmla="*/ 155 h 925"/>
                  <a:gd name="T28" fmla="*/ 1067 w 1249"/>
                  <a:gd name="T29" fmla="*/ 217 h 925"/>
                  <a:gd name="T30" fmla="*/ 1077 w 1249"/>
                  <a:gd name="T31" fmla="*/ 221 h 925"/>
                  <a:gd name="T32" fmla="*/ 1070 w 1249"/>
                  <a:gd name="T33" fmla="*/ 177 h 925"/>
                  <a:gd name="T34" fmla="*/ 1093 w 1249"/>
                  <a:gd name="T35" fmla="*/ 150 h 925"/>
                  <a:gd name="T36" fmla="*/ 1130 w 1249"/>
                  <a:gd name="T37" fmla="*/ 155 h 925"/>
                  <a:gd name="T38" fmla="*/ 1136 w 1249"/>
                  <a:gd name="T39" fmla="*/ 190 h 925"/>
                  <a:gd name="T40" fmla="*/ 1134 w 1249"/>
                  <a:gd name="T41" fmla="*/ 206 h 925"/>
                  <a:gd name="T42" fmla="*/ 1162 w 1249"/>
                  <a:gd name="T43" fmla="*/ 284 h 925"/>
                  <a:gd name="T44" fmla="*/ 1228 w 1249"/>
                  <a:gd name="T45" fmla="*/ 324 h 925"/>
                  <a:gd name="T46" fmla="*/ 1249 w 1249"/>
                  <a:gd name="T47" fmla="*/ 358 h 925"/>
                  <a:gd name="T48" fmla="*/ 1232 w 1249"/>
                  <a:gd name="T49" fmla="*/ 409 h 925"/>
                  <a:gd name="T50" fmla="*/ 1149 w 1249"/>
                  <a:gd name="T51" fmla="*/ 406 h 925"/>
                  <a:gd name="T52" fmla="*/ 1017 w 1249"/>
                  <a:gd name="T53" fmla="*/ 445 h 925"/>
                  <a:gd name="T54" fmla="*/ 973 w 1249"/>
                  <a:gd name="T55" fmla="*/ 502 h 925"/>
                  <a:gd name="T56" fmla="*/ 995 w 1249"/>
                  <a:gd name="T57" fmla="*/ 582 h 925"/>
                  <a:gd name="T58" fmla="*/ 948 w 1249"/>
                  <a:gd name="T59" fmla="*/ 619 h 925"/>
                  <a:gd name="T60" fmla="*/ 877 w 1249"/>
                  <a:gd name="T61" fmla="*/ 668 h 925"/>
                  <a:gd name="T62" fmla="*/ 888 w 1249"/>
                  <a:gd name="T63" fmla="*/ 744 h 925"/>
                  <a:gd name="T64" fmla="*/ 850 w 1249"/>
                  <a:gd name="T65" fmla="*/ 790 h 925"/>
                  <a:gd name="T66" fmla="*/ 842 w 1249"/>
                  <a:gd name="T67" fmla="*/ 881 h 925"/>
                  <a:gd name="T68" fmla="*/ 766 w 1249"/>
                  <a:gd name="T69" fmla="*/ 859 h 925"/>
                  <a:gd name="T70" fmla="*/ 680 w 1249"/>
                  <a:gd name="T71" fmla="*/ 846 h 925"/>
                  <a:gd name="T72" fmla="*/ 671 w 1249"/>
                  <a:gd name="T73" fmla="*/ 844 h 925"/>
                  <a:gd name="T74" fmla="*/ 657 w 1249"/>
                  <a:gd name="T75" fmla="*/ 842 h 925"/>
                  <a:gd name="T76" fmla="*/ 592 w 1249"/>
                  <a:gd name="T77" fmla="*/ 814 h 925"/>
                  <a:gd name="T78" fmla="*/ 536 w 1249"/>
                  <a:gd name="T79" fmla="*/ 769 h 925"/>
                  <a:gd name="T80" fmla="*/ 497 w 1249"/>
                  <a:gd name="T81" fmla="*/ 753 h 925"/>
                  <a:gd name="T82" fmla="*/ 420 w 1249"/>
                  <a:gd name="T83" fmla="*/ 796 h 925"/>
                  <a:gd name="T84" fmla="*/ 330 w 1249"/>
                  <a:gd name="T85" fmla="*/ 838 h 925"/>
                  <a:gd name="T86" fmla="*/ 309 w 1249"/>
                  <a:gd name="T87" fmla="*/ 828 h 925"/>
                  <a:gd name="T88" fmla="*/ 265 w 1249"/>
                  <a:gd name="T89" fmla="*/ 835 h 925"/>
                  <a:gd name="T90" fmla="*/ 232 w 1249"/>
                  <a:gd name="T91" fmla="*/ 868 h 925"/>
                  <a:gd name="T92" fmla="*/ 188 w 1249"/>
                  <a:gd name="T93" fmla="*/ 895 h 925"/>
                  <a:gd name="T94" fmla="*/ 180 w 1249"/>
                  <a:gd name="T95" fmla="*/ 880 h 925"/>
                  <a:gd name="T96" fmla="*/ 101 w 1249"/>
                  <a:gd name="T97" fmla="*/ 868 h 925"/>
                  <a:gd name="T98" fmla="*/ 116 w 1249"/>
                  <a:gd name="T99" fmla="*/ 750 h 925"/>
                  <a:gd name="T100" fmla="*/ 101 w 1249"/>
                  <a:gd name="T101" fmla="*/ 604 h 925"/>
                  <a:gd name="T102" fmla="*/ 105 w 1249"/>
                  <a:gd name="T103" fmla="*/ 517 h 925"/>
                  <a:gd name="T104" fmla="*/ 44 w 1249"/>
                  <a:gd name="T105" fmla="*/ 426 h 925"/>
                  <a:gd name="T106" fmla="*/ 22 w 1249"/>
                  <a:gd name="T107" fmla="*/ 339 h 925"/>
                  <a:gd name="T108" fmla="*/ 102 w 1249"/>
                  <a:gd name="T109" fmla="*/ 252 h 9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249" h="925">
                    <a:moveTo>
                      <a:pt x="152" y="229"/>
                    </a:moveTo>
                    <a:cubicBezTo>
                      <a:pt x="159" y="234"/>
                      <a:pt x="164" y="232"/>
                      <a:pt x="168" y="229"/>
                    </a:cubicBezTo>
                    <a:cubicBezTo>
                      <a:pt x="168" y="229"/>
                      <a:pt x="168" y="229"/>
                      <a:pt x="168" y="229"/>
                    </a:cubicBezTo>
                    <a:cubicBezTo>
                      <a:pt x="164" y="238"/>
                      <a:pt x="182" y="252"/>
                      <a:pt x="190" y="245"/>
                    </a:cubicBezTo>
                    <a:cubicBezTo>
                      <a:pt x="194" y="238"/>
                      <a:pt x="195" y="256"/>
                      <a:pt x="204" y="259"/>
                    </a:cubicBezTo>
                    <a:cubicBezTo>
                      <a:pt x="223" y="259"/>
                      <a:pt x="205" y="271"/>
                      <a:pt x="219" y="266"/>
                    </a:cubicBezTo>
                    <a:cubicBezTo>
                      <a:pt x="231" y="256"/>
                      <a:pt x="238" y="260"/>
                      <a:pt x="247" y="266"/>
                    </a:cubicBezTo>
                    <a:cubicBezTo>
                      <a:pt x="255" y="266"/>
                      <a:pt x="262" y="263"/>
                      <a:pt x="272" y="257"/>
                    </a:cubicBezTo>
                    <a:cubicBezTo>
                      <a:pt x="278" y="263"/>
                      <a:pt x="281" y="245"/>
                      <a:pt x="288" y="249"/>
                    </a:cubicBezTo>
                    <a:cubicBezTo>
                      <a:pt x="288" y="254"/>
                      <a:pt x="301" y="268"/>
                      <a:pt x="309" y="263"/>
                    </a:cubicBezTo>
                    <a:cubicBezTo>
                      <a:pt x="314" y="269"/>
                      <a:pt x="322" y="259"/>
                      <a:pt x="322" y="272"/>
                    </a:cubicBezTo>
                    <a:cubicBezTo>
                      <a:pt x="326" y="285"/>
                      <a:pt x="329" y="271"/>
                      <a:pt x="339" y="267"/>
                    </a:cubicBezTo>
                    <a:cubicBezTo>
                      <a:pt x="347" y="275"/>
                      <a:pt x="362" y="259"/>
                      <a:pt x="362" y="273"/>
                    </a:cubicBezTo>
                    <a:cubicBezTo>
                      <a:pt x="368" y="287"/>
                      <a:pt x="372" y="286"/>
                      <a:pt x="385" y="282"/>
                    </a:cubicBezTo>
                    <a:cubicBezTo>
                      <a:pt x="388" y="276"/>
                      <a:pt x="403" y="267"/>
                      <a:pt x="412" y="276"/>
                    </a:cubicBezTo>
                    <a:cubicBezTo>
                      <a:pt x="423" y="278"/>
                      <a:pt x="440" y="264"/>
                      <a:pt x="445" y="271"/>
                    </a:cubicBezTo>
                    <a:cubicBezTo>
                      <a:pt x="444" y="297"/>
                      <a:pt x="456" y="263"/>
                      <a:pt x="471" y="270"/>
                    </a:cubicBezTo>
                    <a:cubicBezTo>
                      <a:pt x="483" y="266"/>
                      <a:pt x="488" y="251"/>
                      <a:pt x="503" y="249"/>
                    </a:cubicBezTo>
                    <a:cubicBezTo>
                      <a:pt x="516" y="248"/>
                      <a:pt x="503" y="270"/>
                      <a:pt x="511" y="277"/>
                    </a:cubicBezTo>
                    <a:cubicBezTo>
                      <a:pt x="514" y="274"/>
                      <a:pt x="524" y="290"/>
                      <a:pt x="530" y="283"/>
                    </a:cubicBezTo>
                    <a:cubicBezTo>
                      <a:pt x="532" y="280"/>
                      <a:pt x="542" y="291"/>
                      <a:pt x="549" y="286"/>
                    </a:cubicBezTo>
                    <a:cubicBezTo>
                      <a:pt x="545" y="297"/>
                      <a:pt x="579" y="278"/>
                      <a:pt x="577" y="291"/>
                    </a:cubicBezTo>
                    <a:cubicBezTo>
                      <a:pt x="582" y="294"/>
                      <a:pt x="610" y="301"/>
                      <a:pt x="605" y="293"/>
                    </a:cubicBezTo>
                    <a:cubicBezTo>
                      <a:pt x="599" y="284"/>
                      <a:pt x="588" y="278"/>
                      <a:pt x="588" y="265"/>
                    </a:cubicBezTo>
                    <a:cubicBezTo>
                      <a:pt x="578" y="262"/>
                      <a:pt x="576" y="240"/>
                      <a:pt x="590" y="243"/>
                    </a:cubicBezTo>
                    <a:cubicBezTo>
                      <a:pt x="584" y="225"/>
                      <a:pt x="607" y="240"/>
                      <a:pt x="613" y="232"/>
                    </a:cubicBezTo>
                    <a:cubicBezTo>
                      <a:pt x="633" y="215"/>
                      <a:pt x="624" y="224"/>
                      <a:pt x="635" y="235"/>
                    </a:cubicBezTo>
                    <a:cubicBezTo>
                      <a:pt x="643" y="231"/>
                      <a:pt x="659" y="236"/>
                      <a:pt x="662" y="250"/>
                    </a:cubicBezTo>
                    <a:cubicBezTo>
                      <a:pt x="667" y="267"/>
                      <a:pt x="670" y="271"/>
                      <a:pt x="684" y="267"/>
                    </a:cubicBezTo>
                    <a:cubicBezTo>
                      <a:pt x="685" y="272"/>
                      <a:pt x="689" y="288"/>
                      <a:pt x="703" y="278"/>
                    </a:cubicBezTo>
                    <a:cubicBezTo>
                      <a:pt x="717" y="271"/>
                      <a:pt x="715" y="292"/>
                      <a:pt x="727" y="290"/>
                    </a:cubicBezTo>
                    <a:cubicBezTo>
                      <a:pt x="735" y="299"/>
                      <a:pt x="743" y="297"/>
                      <a:pt x="757" y="292"/>
                    </a:cubicBezTo>
                    <a:cubicBezTo>
                      <a:pt x="769" y="298"/>
                      <a:pt x="773" y="306"/>
                      <a:pt x="783" y="307"/>
                    </a:cubicBezTo>
                    <a:cubicBezTo>
                      <a:pt x="797" y="312"/>
                      <a:pt x="778" y="278"/>
                      <a:pt x="794" y="279"/>
                    </a:cubicBezTo>
                    <a:cubicBezTo>
                      <a:pt x="801" y="281"/>
                      <a:pt x="800" y="286"/>
                      <a:pt x="798" y="291"/>
                    </a:cubicBezTo>
                    <a:cubicBezTo>
                      <a:pt x="798" y="291"/>
                      <a:pt x="798" y="294"/>
                      <a:pt x="811" y="291"/>
                    </a:cubicBezTo>
                    <a:cubicBezTo>
                      <a:pt x="823" y="287"/>
                      <a:pt x="829" y="285"/>
                      <a:pt x="838" y="286"/>
                    </a:cubicBezTo>
                    <a:cubicBezTo>
                      <a:pt x="847" y="287"/>
                      <a:pt x="853" y="292"/>
                      <a:pt x="857" y="287"/>
                    </a:cubicBezTo>
                    <a:cubicBezTo>
                      <a:pt x="861" y="283"/>
                      <a:pt x="856" y="276"/>
                      <a:pt x="855" y="268"/>
                    </a:cubicBezTo>
                    <a:cubicBezTo>
                      <a:pt x="854" y="261"/>
                      <a:pt x="855" y="243"/>
                      <a:pt x="858" y="239"/>
                    </a:cubicBezTo>
                    <a:cubicBezTo>
                      <a:pt x="861" y="235"/>
                      <a:pt x="869" y="227"/>
                      <a:pt x="869" y="227"/>
                    </a:cubicBezTo>
                    <a:cubicBezTo>
                      <a:pt x="872" y="211"/>
                      <a:pt x="872" y="211"/>
                      <a:pt x="872" y="211"/>
                    </a:cubicBezTo>
                    <a:cubicBezTo>
                      <a:pt x="884" y="208"/>
                      <a:pt x="884" y="208"/>
                      <a:pt x="884" y="208"/>
                    </a:cubicBezTo>
                    <a:cubicBezTo>
                      <a:pt x="910" y="207"/>
                      <a:pt x="910" y="207"/>
                      <a:pt x="910" y="207"/>
                    </a:cubicBezTo>
                    <a:cubicBezTo>
                      <a:pt x="910" y="207"/>
                      <a:pt x="917" y="211"/>
                      <a:pt x="918" y="206"/>
                    </a:cubicBezTo>
                    <a:cubicBezTo>
                      <a:pt x="919" y="202"/>
                      <a:pt x="924" y="194"/>
                      <a:pt x="927" y="194"/>
                    </a:cubicBezTo>
                    <a:cubicBezTo>
                      <a:pt x="929" y="194"/>
                      <a:pt x="926" y="180"/>
                      <a:pt x="929" y="176"/>
                    </a:cubicBezTo>
                    <a:cubicBezTo>
                      <a:pt x="933" y="171"/>
                      <a:pt x="932" y="153"/>
                      <a:pt x="932" y="153"/>
                    </a:cubicBezTo>
                    <a:cubicBezTo>
                      <a:pt x="928" y="134"/>
                      <a:pt x="928" y="134"/>
                      <a:pt x="928" y="134"/>
                    </a:cubicBezTo>
                    <a:cubicBezTo>
                      <a:pt x="936" y="128"/>
                      <a:pt x="936" y="128"/>
                      <a:pt x="936" y="128"/>
                    </a:cubicBezTo>
                    <a:cubicBezTo>
                      <a:pt x="932" y="109"/>
                      <a:pt x="932" y="109"/>
                      <a:pt x="932" y="109"/>
                    </a:cubicBezTo>
                    <a:cubicBezTo>
                      <a:pt x="932" y="109"/>
                      <a:pt x="947" y="107"/>
                      <a:pt x="954" y="109"/>
                    </a:cubicBezTo>
                    <a:cubicBezTo>
                      <a:pt x="961" y="111"/>
                      <a:pt x="963" y="103"/>
                      <a:pt x="963" y="103"/>
                    </a:cubicBezTo>
                    <a:cubicBezTo>
                      <a:pt x="964" y="97"/>
                      <a:pt x="964" y="97"/>
                      <a:pt x="964" y="97"/>
                    </a:cubicBezTo>
                    <a:cubicBezTo>
                      <a:pt x="952" y="85"/>
                      <a:pt x="952" y="85"/>
                      <a:pt x="952" y="85"/>
                    </a:cubicBezTo>
                    <a:cubicBezTo>
                      <a:pt x="953" y="70"/>
                      <a:pt x="953" y="70"/>
                      <a:pt x="953" y="70"/>
                    </a:cubicBezTo>
                    <a:cubicBezTo>
                      <a:pt x="975" y="67"/>
                      <a:pt x="975" y="67"/>
                      <a:pt x="975" y="67"/>
                    </a:cubicBezTo>
                    <a:cubicBezTo>
                      <a:pt x="977" y="56"/>
                      <a:pt x="977" y="56"/>
                      <a:pt x="977" y="56"/>
                    </a:cubicBezTo>
                    <a:cubicBezTo>
                      <a:pt x="992" y="32"/>
                      <a:pt x="992" y="32"/>
                      <a:pt x="992" y="32"/>
                    </a:cubicBezTo>
                    <a:cubicBezTo>
                      <a:pt x="1004" y="28"/>
                      <a:pt x="1004" y="28"/>
                      <a:pt x="1004" y="28"/>
                    </a:cubicBezTo>
                    <a:cubicBezTo>
                      <a:pt x="1007" y="15"/>
                      <a:pt x="1007" y="15"/>
                      <a:pt x="1007" y="15"/>
                    </a:cubicBezTo>
                    <a:cubicBezTo>
                      <a:pt x="1000" y="4"/>
                      <a:pt x="1000" y="4"/>
                      <a:pt x="1000" y="4"/>
                    </a:cubicBezTo>
                    <a:cubicBezTo>
                      <a:pt x="1005" y="0"/>
                      <a:pt x="1005" y="0"/>
                      <a:pt x="1005" y="0"/>
                    </a:cubicBezTo>
                    <a:cubicBezTo>
                      <a:pt x="1013" y="4"/>
                      <a:pt x="1013" y="4"/>
                      <a:pt x="1013" y="4"/>
                    </a:cubicBezTo>
                    <a:cubicBezTo>
                      <a:pt x="1019" y="4"/>
                      <a:pt x="1019" y="4"/>
                      <a:pt x="1019" y="4"/>
                    </a:cubicBezTo>
                    <a:cubicBezTo>
                      <a:pt x="1029" y="21"/>
                      <a:pt x="1029" y="21"/>
                      <a:pt x="1029" y="21"/>
                    </a:cubicBezTo>
                    <a:cubicBezTo>
                      <a:pt x="1033" y="20"/>
                      <a:pt x="1033" y="20"/>
                      <a:pt x="1033" y="20"/>
                    </a:cubicBezTo>
                    <a:cubicBezTo>
                      <a:pt x="1037" y="17"/>
                      <a:pt x="1037" y="17"/>
                      <a:pt x="1037" y="17"/>
                    </a:cubicBezTo>
                    <a:cubicBezTo>
                      <a:pt x="1045" y="28"/>
                      <a:pt x="1045" y="28"/>
                      <a:pt x="1045" y="28"/>
                    </a:cubicBezTo>
                    <a:cubicBezTo>
                      <a:pt x="1050" y="30"/>
                      <a:pt x="1050" y="30"/>
                      <a:pt x="1050" y="30"/>
                    </a:cubicBezTo>
                    <a:cubicBezTo>
                      <a:pt x="1052" y="38"/>
                      <a:pt x="1052" y="38"/>
                      <a:pt x="1052" y="38"/>
                    </a:cubicBezTo>
                    <a:cubicBezTo>
                      <a:pt x="1048" y="53"/>
                      <a:pt x="1048" y="53"/>
                      <a:pt x="1048" y="53"/>
                    </a:cubicBezTo>
                    <a:cubicBezTo>
                      <a:pt x="1055" y="79"/>
                      <a:pt x="1055" y="79"/>
                      <a:pt x="1055" y="79"/>
                    </a:cubicBezTo>
                    <a:cubicBezTo>
                      <a:pt x="1054" y="82"/>
                      <a:pt x="1054" y="82"/>
                      <a:pt x="1054" y="82"/>
                    </a:cubicBezTo>
                    <a:cubicBezTo>
                      <a:pt x="1053" y="95"/>
                      <a:pt x="1053" y="95"/>
                      <a:pt x="1053" y="95"/>
                    </a:cubicBezTo>
                    <a:cubicBezTo>
                      <a:pt x="1046" y="104"/>
                      <a:pt x="1046" y="104"/>
                      <a:pt x="1046" y="104"/>
                    </a:cubicBezTo>
                    <a:cubicBezTo>
                      <a:pt x="1041" y="109"/>
                      <a:pt x="1041" y="109"/>
                      <a:pt x="1041" y="109"/>
                    </a:cubicBezTo>
                    <a:cubicBezTo>
                      <a:pt x="1042" y="115"/>
                      <a:pt x="1042" y="115"/>
                      <a:pt x="1042" y="115"/>
                    </a:cubicBezTo>
                    <a:cubicBezTo>
                      <a:pt x="1042" y="117"/>
                      <a:pt x="1042" y="117"/>
                      <a:pt x="1042" y="117"/>
                    </a:cubicBezTo>
                    <a:cubicBezTo>
                      <a:pt x="1044" y="120"/>
                      <a:pt x="1044" y="120"/>
                      <a:pt x="1044" y="120"/>
                    </a:cubicBezTo>
                    <a:cubicBezTo>
                      <a:pt x="1053" y="131"/>
                      <a:pt x="1053" y="131"/>
                      <a:pt x="1053" y="131"/>
                    </a:cubicBezTo>
                    <a:cubicBezTo>
                      <a:pt x="1057" y="140"/>
                      <a:pt x="1057" y="140"/>
                      <a:pt x="1057" y="140"/>
                    </a:cubicBezTo>
                    <a:cubicBezTo>
                      <a:pt x="1064" y="149"/>
                      <a:pt x="1064" y="149"/>
                      <a:pt x="1064" y="149"/>
                    </a:cubicBezTo>
                    <a:cubicBezTo>
                      <a:pt x="1065" y="155"/>
                      <a:pt x="1065" y="155"/>
                      <a:pt x="1065" y="155"/>
                    </a:cubicBezTo>
                    <a:cubicBezTo>
                      <a:pt x="1061" y="160"/>
                      <a:pt x="1061" y="160"/>
                      <a:pt x="1061" y="160"/>
                    </a:cubicBezTo>
                    <a:cubicBezTo>
                      <a:pt x="1047" y="165"/>
                      <a:pt x="1047" y="165"/>
                      <a:pt x="1047" y="165"/>
                    </a:cubicBezTo>
                    <a:cubicBezTo>
                      <a:pt x="1051" y="169"/>
                      <a:pt x="1051" y="169"/>
                      <a:pt x="1051" y="169"/>
                    </a:cubicBezTo>
                    <a:cubicBezTo>
                      <a:pt x="1056" y="170"/>
                      <a:pt x="1056" y="170"/>
                      <a:pt x="1056" y="170"/>
                    </a:cubicBezTo>
                    <a:cubicBezTo>
                      <a:pt x="1060" y="175"/>
                      <a:pt x="1060" y="175"/>
                      <a:pt x="1060" y="175"/>
                    </a:cubicBezTo>
                    <a:cubicBezTo>
                      <a:pt x="1067" y="217"/>
                      <a:pt x="1067" y="217"/>
                      <a:pt x="1067" y="217"/>
                    </a:cubicBezTo>
                    <a:cubicBezTo>
                      <a:pt x="1080" y="235"/>
                      <a:pt x="1080" y="235"/>
                      <a:pt x="1080" y="235"/>
                    </a:cubicBezTo>
                    <a:cubicBezTo>
                      <a:pt x="1081" y="237"/>
                      <a:pt x="1081" y="237"/>
                      <a:pt x="1081" y="237"/>
                    </a:cubicBezTo>
                    <a:cubicBezTo>
                      <a:pt x="1087" y="239"/>
                      <a:pt x="1087" y="239"/>
                      <a:pt x="1087" y="239"/>
                    </a:cubicBezTo>
                    <a:cubicBezTo>
                      <a:pt x="1086" y="235"/>
                      <a:pt x="1086" y="235"/>
                      <a:pt x="1086" y="235"/>
                    </a:cubicBezTo>
                    <a:cubicBezTo>
                      <a:pt x="1080" y="226"/>
                      <a:pt x="1080" y="226"/>
                      <a:pt x="1080" y="226"/>
                    </a:cubicBezTo>
                    <a:cubicBezTo>
                      <a:pt x="1077" y="221"/>
                      <a:pt x="1077" y="221"/>
                      <a:pt x="1077" y="221"/>
                    </a:cubicBezTo>
                    <a:cubicBezTo>
                      <a:pt x="1074" y="211"/>
                      <a:pt x="1074" y="211"/>
                      <a:pt x="1074" y="211"/>
                    </a:cubicBezTo>
                    <a:cubicBezTo>
                      <a:pt x="1071" y="200"/>
                      <a:pt x="1071" y="200"/>
                      <a:pt x="1071" y="200"/>
                    </a:cubicBezTo>
                    <a:cubicBezTo>
                      <a:pt x="1068" y="188"/>
                      <a:pt x="1068" y="188"/>
                      <a:pt x="1068" y="188"/>
                    </a:cubicBezTo>
                    <a:cubicBezTo>
                      <a:pt x="1069" y="183"/>
                      <a:pt x="1069" y="183"/>
                      <a:pt x="1069" y="183"/>
                    </a:cubicBezTo>
                    <a:cubicBezTo>
                      <a:pt x="1070" y="178"/>
                      <a:pt x="1070" y="178"/>
                      <a:pt x="1070" y="178"/>
                    </a:cubicBezTo>
                    <a:cubicBezTo>
                      <a:pt x="1070" y="177"/>
                      <a:pt x="1070" y="177"/>
                      <a:pt x="1070" y="177"/>
                    </a:cubicBezTo>
                    <a:cubicBezTo>
                      <a:pt x="1075" y="160"/>
                      <a:pt x="1075" y="160"/>
                      <a:pt x="1075" y="160"/>
                    </a:cubicBezTo>
                    <a:cubicBezTo>
                      <a:pt x="1078" y="156"/>
                      <a:pt x="1078" y="156"/>
                      <a:pt x="1078" y="156"/>
                    </a:cubicBezTo>
                    <a:cubicBezTo>
                      <a:pt x="1084" y="155"/>
                      <a:pt x="1084" y="155"/>
                      <a:pt x="1084" y="155"/>
                    </a:cubicBezTo>
                    <a:cubicBezTo>
                      <a:pt x="1090" y="155"/>
                      <a:pt x="1090" y="155"/>
                      <a:pt x="1090" y="155"/>
                    </a:cubicBezTo>
                    <a:cubicBezTo>
                      <a:pt x="1094" y="151"/>
                      <a:pt x="1094" y="151"/>
                      <a:pt x="1094" y="151"/>
                    </a:cubicBezTo>
                    <a:cubicBezTo>
                      <a:pt x="1093" y="150"/>
                      <a:pt x="1093" y="150"/>
                      <a:pt x="1093" y="150"/>
                    </a:cubicBezTo>
                    <a:cubicBezTo>
                      <a:pt x="1095" y="144"/>
                      <a:pt x="1095" y="144"/>
                      <a:pt x="1095" y="144"/>
                    </a:cubicBezTo>
                    <a:cubicBezTo>
                      <a:pt x="1102" y="142"/>
                      <a:pt x="1102" y="142"/>
                      <a:pt x="1102" y="142"/>
                    </a:cubicBezTo>
                    <a:cubicBezTo>
                      <a:pt x="1104" y="136"/>
                      <a:pt x="1104" y="136"/>
                      <a:pt x="1104" y="136"/>
                    </a:cubicBezTo>
                    <a:cubicBezTo>
                      <a:pt x="1128" y="142"/>
                      <a:pt x="1128" y="142"/>
                      <a:pt x="1128" y="142"/>
                    </a:cubicBezTo>
                    <a:cubicBezTo>
                      <a:pt x="1129" y="149"/>
                      <a:pt x="1129" y="149"/>
                      <a:pt x="1129" y="149"/>
                    </a:cubicBezTo>
                    <a:cubicBezTo>
                      <a:pt x="1130" y="155"/>
                      <a:pt x="1130" y="155"/>
                      <a:pt x="1130" y="155"/>
                    </a:cubicBezTo>
                    <a:cubicBezTo>
                      <a:pt x="1136" y="165"/>
                      <a:pt x="1136" y="165"/>
                      <a:pt x="1136" y="165"/>
                    </a:cubicBezTo>
                    <a:cubicBezTo>
                      <a:pt x="1143" y="176"/>
                      <a:pt x="1143" y="176"/>
                      <a:pt x="1143" y="176"/>
                    </a:cubicBezTo>
                    <a:cubicBezTo>
                      <a:pt x="1143" y="183"/>
                      <a:pt x="1143" y="183"/>
                      <a:pt x="1143" y="183"/>
                    </a:cubicBezTo>
                    <a:cubicBezTo>
                      <a:pt x="1143" y="185"/>
                      <a:pt x="1143" y="185"/>
                      <a:pt x="1143" y="185"/>
                    </a:cubicBezTo>
                    <a:cubicBezTo>
                      <a:pt x="1140" y="190"/>
                      <a:pt x="1140" y="190"/>
                      <a:pt x="1140" y="190"/>
                    </a:cubicBezTo>
                    <a:cubicBezTo>
                      <a:pt x="1136" y="190"/>
                      <a:pt x="1136" y="190"/>
                      <a:pt x="1136" y="190"/>
                    </a:cubicBezTo>
                    <a:cubicBezTo>
                      <a:pt x="1129" y="191"/>
                      <a:pt x="1129" y="191"/>
                      <a:pt x="1129" y="191"/>
                    </a:cubicBezTo>
                    <a:cubicBezTo>
                      <a:pt x="1127" y="196"/>
                      <a:pt x="1127" y="196"/>
                      <a:pt x="1127" y="196"/>
                    </a:cubicBezTo>
                    <a:cubicBezTo>
                      <a:pt x="1125" y="203"/>
                      <a:pt x="1125" y="203"/>
                      <a:pt x="1125" y="203"/>
                    </a:cubicBezTo>
                    <a:cubicBezTo>
                      <a:pt x="1128" y="206"/>
                      <a:pt x="1128" y="206"/>
                      <a:pt x="1128" y="206"/>
                    </a:cubicBezTo>
                    <a:cubicBezTo>
                      <a:pt x="1129" y="206"/>
                      <a:pt x="1129" y="206"/>
                      <a:pt x="1129" y="206"/>
                    </a:cubicBezTo>
                    <a:cubicBezTo>
                      <a:pt x="1134" y="206"/>
                      <a:pt x="1134" y="206"/>
                      <a:pt x="1134" y="206"/>
                    </a:cubicBezTo>
                    <a:cubicBezTo>
                      <a:pt x="1132" y="227"/>
                      <a:pt x="1132" y="227"/>
                      <a:pt x="1132" y="227"/>
                    </a:cubicBezTo>
                    <a:cubicBezTo>
                      <a:pt x="1124" y="229"/>
                      <a:pt x="1124" y="229"/>
                      <a:pt x="1124" y="229"/>
                    </a:cubicBezTo>
                    <a:cubicBezTo>
                      <a:pt x="1110" y="235"/>
                      <a:pt x="1110" y="235"/>
                      <a:pt x="1110" y="235"/>
                    </a:cubicBezTo>
                    <a:cubicBezTo>
                      <a:pt x="1110" y="235"/>
                      <a:pt x="1123" y="261"/>
                      <a:pt x="1127" y="268"/>
                    </a:cubicBezTo>
                    <a:cubicBezTo>
                      <a:pt x="1132" y="274"/>
                      <a:pt x="1132" y="283"/>
                      <a:pt x="1132" y="283"/>
                    </a:cubicBezTo>
                    <a:cubicBezTo>
                      <a:pt x="1162" y="284"/>
                      <a:pt x="1162" y="284"/>
                      <a:pt x="1162" y="284"/>
                    </a:cubicBezTo>
                    <a:cubicBezTo>
                      <a:pt x="1165" y="299"/>
                      <a:pt x="1165" y="299"/>
                      <a:pt x="1165" y="299"/>
                    </a:cubicBezTo>
                    <a:cubicBezTo>
                      <a:pt x="1147" y="310"/>
                      <a:pt x="1147" y="310"/>
                      <a:pt x="1147" y="310"/>
                    </a:cubicBezTo>
                    <a:cubicBezTo>
                      <a:pt x="1152" y="322"/>
                      <a:pt x="1152" y="322"/>
                      <a:pt x="1152" y="322"/>
                    </a:cubicBezTo>
                    <a:cubicBezTo>
                      <a:pt x="1175" y="311"/>
                      <a:pt x="1175" y="311"/>
                      <a:pt x="1175" y="311"/>
                    </a:cubicBezTo>
                    <a:cubicBezTo>
                      <a:pt x="1202" y="326"/>
                      <a:pt x="1202" y="326"/>
                      <a:pt x="1202" y="326"/>
                    </a:cubicBezTo>
                    <a:cubicBezTo>
                      <a:pt x="1202" y="326"/>
                      <a:pt x="1222" y="324"/>
                      <a:pt x="1228" y="324"/>
                    </a:cubicBezTo>
                    <a:cubicBezTo>
                      <a:pt x="1229" y="324"/>
                      <a:pt x="1230" y="324"/>
                      <a:pt x="1231" y="324"/>
                    </a:cubicBezTo>
                    <a:cubicBezTo>
                      <a:pt x="1234" y="325"/>
                      <a:pt x="1238" y="326"/>
                      <a:pt x="1241" y="327"/>
                    </a:cubicBezTo>
                    <a:cubicBezTo>
                      <a:pt x="1244" y="329"/>
                      <a:pt x="1246" y="330"/>
                      <a:pt x="1246" y="330"/>
                    </a:cubicBezTo>
                    <a:cubicBezTo>
                      <a:pt x="1246" y="330"/>
                      <a:pt x="1248" y="343"/>
                      <a:pt x="1248" y="350"/>
                    </a:cubicBezTo>
                    <a:cubicBezTo>
                      <a:pt x="1249" y="352"/>
                      <a:pt x="1249" y="352"/>
                      <a:pt x="1249" y="352"/>
                    </a:cubicBezTo>
                    <a:cubicBezTo>
                      <a:pt x="1249" y="354"/>
                      <a:pt x="1249" y="356"/>
                      <a:pt x="1249" y="358"/>
                    </a:cubicBezTo>
                    <a:cubicBezTo>
                      <a:pt x="1249" y="361"/>
                      <a:pt x="1249" y="364"/>
                      <a:pt x="1249" y="367"/>
                    </a:cubicBezTo>
                    <a:cubicBezTo>
                      <a:pt x="1249" y="371"/>
                      <a:pt x="1249" y="371"/>
                      <a:pt x="1249" y="371"/>
                    </a:cubicBezTo>
                    <a:cubicBezTo>
                      <a:pt x="1249" y="371"/>
                      <a:pt x="1249" y="371"/>
                      <a:pt x="1249" y="371"/>
                    </a:cubicBezTo>
                    <a:cubicBezTo>
                      <a:pt x="1249" y="371"/>
                      <a:pt x="1246" y="375"/>
                      <a:pt x="1244" y="379"/>
                    </a:cubicBezTo>
                    <a:cubicBezTo>
                      <a:pt x="1241" y="383"/>
                      <a:pt x="1237" y="388"/>
                      <a:pt x="1235" y="390"/>
                    </a:cubicBezTo>
                    <a:cubicBezTo>
                      <a:pt x="1230" y="394"/>
                      <a:pt x="1232" y="409"/>
                      <a:pt x="1232" y="409"/>
                    </a:cubicBezTo>
                    <a:cubicBezTo>
                      <a:pt x="1210" y="419"/>
                      <a:pt x="1210" y="419"/>
                      <a:pt x="1210" y="419"/>
                    </a:cubicBezTo>
                    <a:cubicBezTo>
                      <a:pt x="1195" y="420"/>
                      <a:pt x="1195" y="420"/>
                      <a:pt x="1195" y="420"/>
                    </a:cubicBezTo>
                    <a:cubicBezTo>
                      <a:pt x="1181" y="432"/>
                      <a:pt x="1181" y="432"/>
                      <a:pt x="1181" y="432"/>
                    </a:cubicBezTo>
                    <a:cubicBezTo>
                      <a:pt x="1181" y="432"/>
                      <a:pt x="1171" y="427"/>
                      <a:pt x="1167" y="420"/>
                    </a:cubicBezTo>
                    <a:cubicBezTo>
                      <a:pt x="1163" y="413"/>
                      <a:pt x="1153" y="403"/>
                      <a:pt x="1153" y="403"/>
                    </a:cubicBezTo>
                    <a:cubicBezTo>
                      <a:pt x="1149" y="406"/>
                      <a:pt x="1149" y="406"/>
                      <a:pt x="1149" y="406"/>
                    </a:cubicBezTo>
                    <a:cubicBezTo>
                      <a:pt x="1134" y="420"/>
                      <a:pt x="1134" y="420"/>
                      <a:pt x="1134" y="420"/>
                    </a:cubicBezTo>
                    <a:cubicBezTo>
                      <a:pt x="1134" y="420"/>
                      <a:pt x="1125" y="421"/>
                      <a:pt x="1112" y="416"/>
                    </a:cubicBezTo>
                    <a:cubicBezTo>
                      <a:pt x="1100" y="410"/>
                      <a:pt x="1080" y="415"/>
                      <a:pt x="1080" y="415"/>
                    </a:cubicBezTo>
                    <a:cubicBezTo>
                      <a:pt x="1080" y="415"/>
                      <a:pt x="1054" y="422"/>
                      <a:pt x="1047" y="424"/>
                    </a:cubicBezTo>
                    <a:cubicBezTo>
                      <a:pt x="1040" y="425"/>
                      <a:pt x="1016" y="422"/>
                      <a:pt x="1016" y="422"/>
                    </a:cubicBezTo>
                    <a:cubicBezTo>
                      <a:pt x="1016" y="422"/>
                      <a:pt x="1018" y="441"/>
                      <a:pt x="1017" y="445"/>
                    </a:cubicBezTo>
                    <a:cubicBezTo>
                      <a:pt x="1016" y="450"/>
                      <a:pt x="1015" y="457"/>
                      <a:pt x="1010" y="461"/>
                    </a:cubicBezTo>
                    <a:cubicBezTo>
                      <a:pt x="1004" y="466"/>
                      <a:pt x="1006" y="475"/>
                      <a:pt x="1005" y="481"/>
                    </a:cubicBezTo>
                    <a:cubicBezTo>
                      <a:pt x="1004" y="487"/>
                      <a:pt x="997" y="490"/>
                      <a:pt x="997" y="490"/>
                    </a:cubicBezTo>
                    <a:cubicBezTo>
                      <a:pt x="997" y="490"/>
                      <a:pt x="984" y="490"/>
                      <a:pt x="977" y="490"/>
                    </a:cubicBezTo>
                    <a:cubicBezTo>
                      <a:pt x="971" y="490"/>
                      <a:pt x="972" y="500"/>
                      <a:pt x="973" y="502"/>
                    </a:cubicBezTo>
                    <a:cubicBezTo>
                      <a:pt x="973" y="502"/>
                      <a:pt x="973" y="502"/>
                      <a:pt x="973" y="502"/>
                    </a:cubicBezTo>
                    <a:cubicBezTo>
                      <a:pt x="974" y="504"/>
                      <a:pt x="986" y="516"/>
                      <a:pt x="986" y="516"/>
                    </a:cubicBezTo>
                    <a:cubicBezTo>
                      <a:pt x="982" y="533"/>
                      <a:pt x="982" y="533"/>
                      <a:pt x="982" y="533"/>
                    </a:cubicBezTo>
                    <a:cubicBezTo>
                      <a:pt x="997" y="539"/>
                      <a:pt x="997" y="539"/>
                      <a:pt x="997" y="539"/>
                    </a:cubicBezTo>
                    <a:cubicBezTo>
                      <a:pt x="1000" y="564"/>
                      <a:pt x="1000" y="564"/>
                      <a:pt x="1000" y="564"/>
                    </a:cubicBezTo>
                    <a:cubicBezTo>
                      <a:pt x="1012" y="578"/>
                      <a:pt x="1012" y="578"/>
                      <a:pt x="1012" y="578"/>
                    </a:cubicBezTo>
                    <a:cubicBezTo>
                      <a:pt x="995" y="582"/>
                      <a:pt x="995" y="582"/>
                      <a:pt x="995" y="582"/>
                    </a:cubicBezTo>
                    <a:cubicBezTo>
                      <a:pt x="994" y="609"/>
                      <a:pt x="994" y="609"/>
                      <a:pt x="994" y="609"/>
                    </a:cubicBezTo>
                    <a:cubicBezTo>
                      <a:pt x="974" y="617"/>
                      <a:pt x="974" y="617"/>
                      <a:pt x="974" y="617"/>
                    </a:cubicBezTo>
                    <a:cubicBezTo>
                      <a:pt x="969" y="608"/>
                      <a:pt x="969" y="608"/>
                      <a:pt x="969" y="608"/>
                    </a:cubicBezTo>
                    <a:cubicBezTo>
                      <a:pt x="963" y="597"/>
                      <a:pt x="963" y="597"/>
                      <a:pt x="963" y="597"/>
                    </a:cubicBezTo>
                    <a:cubicBezTo>
                      <a:pt x="952" y="600"/>
                      <a:pt x="952" y="600"/>
                      <a:pt x="952" y="600"/>
                    </a:cubicBezTo>
                    <a:cubicBezTo>
                      <a:pt x="948" y="619"/>
                      <a:pt x="948" y="619"/>
                      <a:pt x="948" y="619"/>
                    </a:cubicBezTo>
                    <a:cubicBezTo>
                      <a:pt x="936" y="618"/>
                      <a:pt x="936" y="618"/>
                      <a:pt x="936" y="618"/>
                    </a:cubicBezTo>
                    <a:cubicBezTo>
                      <a:pt x="930" y="605"/>
                      <a:pt x="930" y="605"/>
                      <a:pt x="930" y="605"/>
                    </a:cubicBezTo>
                    <a:cubicBezTo>
                      <a:pt x="913" y="618"/>
                      <a:pt x="913" y="618"/>
                      <a:pt x="913" y="618"/>
                    </a:cubicBezTo>
                    <a:cubicBezTo>
                      <a:pt x="913" y="618"/>
                      <a:pt x="914" y="631"/>
                      <a:pt x="905" y="631"/>
                    </a:cubicBezTo>
                    <a:cubicBezTo>
                      <a:pt x="896" y="631"/>
                      <a:pt x="896" y="650"/>
                      <a:pt x="887" y="651"/>
                    </a:cubicBezTo>
                    <a:cubicBezTo>
                      <a:pt x="878" y="652"/>
                      <a:pt x="884" y="665"/>
                      <a:pt x="877" y="668"/>
                    </a:cubicBezTo>
                    <a:cubicBezTo>
                      <a:pt x="873" y="670"/>
                      <a:pt x="871" y="672"/>
                      <a:pt x="870" y="674"/>
                    </a:cubicBezTo>
                    <a:cubicBezTo>
                      <a:pt x="870" y="675"/>
                      <a:pt x="870" y="676"/>
                      <a:pt x="870" y="676"/>
                    </a:cubicBezTo>
                    <a:cubicBezTo>
                      <a:pt x="870" y="676"/>
                      <a:pt x="866" y="694"/>
                      <a:pt x="870" y="701"/>
                    </a:cubicBezTo>
                    <a:cubicBezTo>
                      <a:pt x="874" y="709"/>
                      <a:pt x="874" y="715"/>
                      <a:pt x="874" y="715"/>
                    </a:cubicBezTo>
                    <a:cubicBezTo>
                      <a:pt x="886" y="728"/>
                      <a:pt x="886" y="728"/>
                      <a:pt x="886" y="728"/>
                    </a:cubicBezTo>
                    <a:cubicBezTo>
                      <a:pt x="888" y="744"/>
                      <a:pt x="888" y="744"/>
                      <a:pt x="888" y="744"/>
                    </a:cubicBezTo>
                    <a:cubicBezTo>
                      <a:pt x="876" y="748"/>
                      <a:pt x="876" y="748"/>
                      <a:pt x="876" y="748"/>
                    </a:cubicBezTo>
                    <a:cubicBezTo>
                      <a:pt x="878" y="757"/>
                      <a:pt x="878" y="757"/>
                      <a:pt x="878" y="757"/>
                    </a:cubicBezTo>
                    <a:cubicBezTo>
                      <a:pt x="890" y="762"/>
                      <a:pt x="890" y="762"/>
                      <a:pt x="890" y="762"/>
                    </a:cubicBezTo>
                    <a:cubicBezTo>
                      <a:pt x="878" y="774"/>
                      <a:pt x="878" y="774"/>
                      <a:pt x="878" y="774"/>
                    </a:cubicBezTo>
                    <a:cubicBezTo>
                      <a:pt x="867" y="786"/>
                      <a:pt x="867" y="786"/>
                      <a:pt x="867" y="786"/>
                    </a:cubicBezTo>
                    <a:cubicBezTo>
                      <a:pt x="850" y="790"/>
                      <a:pt x="850" y="790"/>
                      <a:pt x="850" y="790"/>
                    </a:cubicBezTo>
                    <a:cubicBezTo>
                      <a:pt x="839" y="795"/>
                      <a:pt x="839" y="795"/>
                      <a:pt x="839" y="795"/>
                    </a:cubicBezTo>
                    <a:cubicBezTo>
                      <a:pt x="836" y="805"/>
                      <a:pt x="836" y="805"/>
                      <a:pt x="836" y="805"/>
                    </a:cubicBezTo>
                    <a:cubicBezTo>
                      <a:pt x="818" y="815"/>
                      <a:pt x="818" y="815"/>
                      <a:pt x="818" y="815"/>
                    </a:cubicBezTo>
                    <a:cubicBezTo>
                      <a:pt x="826" y="839"/>
                      <a:pt x="826" y="839"/>
                      <a:pt x="826" y="839"/>
                    </a:cubicBezTo>
                    <a:cubicBezTo>
                      <a:pt x="829" y="863"/>
                      <a:pt x="829" y="863"/>
                      <a:pt x="829" y="863"/>
                    </a:cubicBezTo>
                    <a:cubicBezTo>
                      <a:pt x="829" y="863"/>
                      <a:pt x="835" y="879"/>
                      <a:pt x="842" y="881"/>
                    </a:cubicBezTo>
                    <a:cubicBezTo>
                      <a:pt x="849" y="883"/>
                      <a:pt x="845" y="906"/>
                      <a:pt x="845" y="906"/>
                    </a:cubicBezTo>
                    <a:cubicBezTo>
                      <a:pt x="822" y="900"/>
                      <a:pt x="822" y="900"/>
                      <a:pt x="822" y="900"/>
                    </a:cubicBezTo>
                    <a:cubicBezTo>
                      <a:pt x="797" y="878"/>
                      <a:pt x="797" y="878"/>
                      <a:pt x="797" y="878"/>
                    </a:cubicBezTo>
                    <a:cubicBezTo>
                      <a:pt x="787" y="879"/>
                      <a:pt x="787" y="879"/>
                      <a:pt x="787" y="879"/>
                    </a:cubicBezTo>
                    <a:cubicBezTo>
                      <a:pt x="775" y="873"/>
                      <a:pt x="775" y="873"/>
                      <a:pt x="775" y="873"/>
                    </a:cubicBezTo>
                    <a:cubicBezTo>
                      <a:pt x="766" y="859"/>
                      <a:pt x="766" y="859"/>
                      <a:pt x="766" y="859"/>
                    </a:cubicBezTo>
                    <a:cubicBezTo>
                      <a:pt x="747" y="856"/>
                      <a:pt x="747" y="856"/>
                      <a:pt x="747" y="856"/>
                    </a:cubicBezTo>
                    <a:cubicBezTo>
                      <a:pt x="736" y="855"/>
                      <a:pt x="736" y="855"/>
                      <a:pt x="736" y="855"/>
                    </a:cubicBezTo>
                    <a:cubicBezTo>
                      <a:pt x="708" y="861"/>
                      <a:pt x="708" y="861"/>
                      <a:pt x="708" y="861"/>
                    </a:cubicBezTo>
                    <a:cubicBezTo>
                      <a:pt x="680" y="847"/>
                      <a:pt x="680" y="847"/>
                      <a:pt x="680" y="847"/>
                    </a:cubicBezTo>
                    <a:cubicBezTo>
                      <a:pt x="680" y="847"/>
                      <a:pt x="680" y="846"/>
                      <a:pt x="680" y="846"/>
                    </a:cubicBezTo>
                    <a:cubicBezTo>
                      <a:pt x="680" y="846"/>
                      <a:pt x="680" y="846"/>
                      <a:pt x="680" y="846"/>
                    </a:cubicBezTo>
                    <a:cubicBezTo>
                      <a:pt x="679" y="846"/>
                      <a:pt x="679" y="846"/>
                      <a:pt x="678" y="846"/>
                    </a:cubicBezTo>
                    <a:cubicBezTo>
                      <a:pt x="678" y="846"/>
                      <a:pt x="678" y="846"/>
                      <a:pt x="678" y="846"/>
                    </a:cubicBezTo>
                    <a:cubicBezTo>
                      <a:pt x="677" y="846"/>
                      <a:pt x="677" y="846"/>
                      <a:pt x="676" y="846"/>
                    </a:cubicBezTo>
                    <a:cubicBezTo>
                      <a:pt x="676" y="846"/>
                      <a:pt x="676" y="846"/>
                      <a:pt x="676" y="846"/>
                    </a:cubicBezTo>
                    <a:cubicBezTo>
                      <a:pt x="675" y="845"/>
                      <a:pt x="673" y="845"/>
                      <a:pt x="671" y="844"/>
                    </a:cubicBezTo>
                    <a:cubicBezTo>
                      <a:pt x="671" y="844"/>
                      <a:pt x="671" y="844"/>
                      <a:pt x="671" y="844"/>
                    </a:cubicBezTo>
                    <a:cubicBezTo>
                      <a:pt x="669" y="844"/>
                      <a:pt x="667" y="844"/>
                      <a:pt x="664" y="843"/>
                    </a:cubicBezTo>
                    <a:cubicBezTo>
                      <a:pt x="664" y="843"/>
                      <a:pt x="664" y="843"/>
                      <a:pt x="664" y="843"/>
                    </a:cubicBezTo>
                    <a:cubicBezTo>
                      <a:pt x="663" y="843"/>
                      <a:pt x="663" y="843"/>
                      <a:pt x="662" y="843"/>
                    </a:cubicBezTo>
                    <a:cubicBezTo>
                      <a:pt x="662" y="843"/>
                      <a:pt x="662" y="843"/>
                      <a:pt x="662" y="843"/>
                    </a:cubicBezTo>
                    <a:cubicBezTo>
                      <a:pt x="660" y="843"/>
                      <a:pt x="659" y="842"/>
                      <a:pt x="657" y="842"/>
                    </a:cubicBezTo>
                    <a:cubicBezTo>
                      <a:pt x="657" y="842"/>
                      <a:pt x="657" y="842"/>
                      <a:pt x="657" y="842"/>
                    </a:cubicBezTo>
                    <a:cubicBezTo>
                      <a:pt x="656" y="842"/>
                      <a:pt x="655" y="842"/>
                      <a:pt x="655" y="842"/>
                    </a:cubicBezTo>
                    <a:cubicBezTo>
                      <a:pt x="654" y="842"/>
                      <a:pt x="654" y="842"/>
                      <a:pt x="654" y="842"/>
                    </a:cubicBezTo>
                    <a:cubicBezTo>
                      <a:pt x="653" y="842"/>
                      <a:pt x="653" y="841"/>
                      <a:pt x="652" y="841"/>
                    </a:cubicBezTo>
                    <a:cubicBezTo>
                      <a:pt x="645" y="841"/>
                      <a:pt x="639" y="841"/>
                      <a:pt x="636" y="842"/>
                    </a:cubicBezTo>
                    <a:cubicBezTo>
                      <a:pt x="627" y="846"/>
                      <a:pt x="615" y="823"/>
                      <a:pt x="615" y="823"/>
                    </a:cubicBezTo>
                    <a:cubicBezTo>
                      <a:pt x="615" y="823"/>
                      <a:pt x="604" y="810"/>
                      <a:pt x="592" y="814"/>
                    </a:cubicBezTo>
                    <a:cubicBezTo>
                      <a:pt x="580" y="817"/>
                      <a:pt x="572" y="808"/>
                      <a:pt x="572" y="808"/>
                    </a:cubicBezTo>
                    <a:cubicBezTo>
                      <a:pt x="578" y="801"/>
                      <a:pt x="578" y="801"/>
                      <a:pt x="578" y="801"/>
                    </a:cubicBezTo>
                    <a:cubicBezTo>
                      <a:pt x="577" y="784"/>
                      <a:pt x="577" y="784"/>
                      <a:pt x="577" y="784"/>
                    </a:cubicBezTo>
                    <a:cubicBezTo>
                      <a:pt x="568" y="776"/>
                      <a:pt x="568" y="776"/>
                      <a:pt x="568" y="776"/>
                    </a:cubicBezTo>
                    <a:cubicBezTo>
                      <a:pt x="537" y="777"/>
                      <a:pt x="537" y="777"/>
                      <a:pt x="537" y="777"/>
                    </a:cubicBezTo>
                    <a:cubicBezTo>
                      <a:pt x="536" y="769"/>
                      <a:pt x="536" y="769"/>
                      <a:pt x="536" y="769"/>
                    </a:cubicBezTo>
                    <a:cubicBezTo>
                      <a:pt x="522" y="764"/>
                      <a:pt x="522" y="764"/>
                      <a:pt x="522" y="764"/>
                    </a:cubicBezTo>
                    <a:cubicBezTo>
                      <a:pt x="519" y="777"/>
                      <a:pt x="519" y="777"/>
                      <a:pt x="519" y="777"/>
                    </a:cubicBezTo>
                    <a:cubicBezTo>
                      <a:pt x="491" y="779"/>
                      <a:pt x="491" y="779"/>
                      <a:pt x="491" y="779"/>
                    </a:cubicBezTo>
                    <a:cubicBezTo>
                      <a:pt x="489" y="769"/>
                      <a:pt x="489" y="769"/>
                      <a:pt x="489" y="769"/>
                    </a:cubicBezTo>
                    <a:cubicBezTo>
                      <a:pt x="497" y="762"/>
                      <a:pt x="497" y="762"/>
                      <a:pt x="497" y="762"/>
                    </a:cubicBezTo>
                    <a:cubicBezTo>
                      <a:pt x="497" y="753"/>
                      <a:pt x="497" y="753"/>
                      <a:pt x="497" y="753"/>
                    </a:cubicBezTo>
                    <a:cubicBezTo>
                      <a:pt x="481" y="748"/>
                      <a:pt x="481" y="748"/>
                      <a:pt x="481" y="748"/>
                    </a:cubicBezTo>
                    <a:cubicBezTo>
                      <a:pt x="477" y="730"/>
                      <a:pt x="477" y="730"/>
                      <a:pt x="477" y="730"/>
                    </a:cubicBezTo>
                    <a:cubicBezTo>
                      <a:pt x="458" y="734"/>
                      <a:pt x="458" y="734"/>
                      <a:pt x="458" y="734"/>
                    </a:cubicBezTo>
                    <a:cubicBezTo>
                      <a:pt x="458" y="734"/>
                      <a:pt x="437" y="753"/>
                      <a:pt x="429" y="756"/>
                    </a:cubicBezTo>
                    <a:cubicBezTo>
                      <a:pt x="421" y="760"/>
                      <a:pt x="423" y="772"/>
                      <a:pt x="422" y="775"/>
                    </a:cubicBezTo>
                    <a:cubicBezTo>
                      <a:pt x="421" y="778"/>
                      <a:pt x="420" y="796"/>
                      <a:pt x="420" y="796"/>
                    </a:cubicBezTo>
                    <a:cubicBezTo>
                      <a:pt x="420" y="796"/>
                      <a:pt x="400" y="805"/>
                      <a:pt x="394" y="810"/>
                    </a:cubicBezTo>
                    <a:cubicBezTo>
                      <a:pt x="388" y="814"/>
                      <a:pt x="379" y="808"/>
                      <a:pt x="375" y="807"/>
                    </a:cubicBezTo>
                    <a:cubicBezTo>
                      <a:pt x="372" y="806"/>
                      <a:pt x="358" y="822"/>
                      <a:pt x="358" y="822"/>
                    </a:cubicBezTo>
                    <a:cubicBezTo>
                      <a:pt x="353" y="818"/>
                      <a:pt x="353" y="818"/>
                      <a:pt x="353" y="818"/>
                    </a:cubicBezTo>
                    <a:cubicBezTo>
                      <a:pt x="348" y="846"/>
                      <a:pt x="348" y="846"/>
                      <a:pt x="348" y="846"/>
                    </a:cubicBezTo>
                    <a:cubicBezTo>
                      <a:pt x="330" y="838"/>
                      <a:pt x="330" y="838"/>
                      <a:pt x="330" y="838"/>
                    </a:cubicBezTo>
                    <a:cubicBezTo>
                      <a:pt x="338" y="819"/>
                      <a:pt x="338" y="819"/>
                      <a:pt x="338" y="819"/>
                    </a:cubicBezTo>
                    <a:cubicBezTo>
                      <a:pt x="331" y="817"/>
                      <a:pt x="331" y="817"/>
                      <a:pt x="331" y="817"/>
                    </a:cubicBezTo>
                    <a:cubicBezTo>
                      <a:pt x="316" y="803"/>
                      <a:pt x="316" y="803"/>
                      <a:pt x="316" y="803"/>
                    </a:cubicBezTo>
                    <a:cubicBezTo>
                      <a:pt x="308" y="813"/>
                      <a:pt x="308" y="813"/>
                      <a:pt x="308" y="813"/>
                    </a:cubicBezTo>
                    <a:cubicBezTo>
                      <a:pt x="315" y="820"/>
                      <a:pt x="315" y="820"/>
                      <a:pt x="315" y="820"/>
                    </a:cubicBezTo>
                    <a:cubicBezTo>
                      <a:pt x="309" y="828"/>
                      <a:pt x="309" y="828"/>
                      <a:pt x="309" y="828"/>
                    </a:cubicBezTo>
                    <a:cubicBezTo>
                      <a:pt x="309" y="828"/>
                      <a:pt x="302" y="830"/>
                      <a:pt x="297" y="830"/>
                    </a:cubicBezTo>
                    <a:cubicBezTo>
                      <a:pt x="294" y="831"/>
                      <a:pt x="294" y="831"/>
                      <a:pt x="294" y="831"/>
                    </a:cubicBezTo>
                    <a:cubicBezTo>
                      <a:pt x="293" y="831"/>
                      <a:pt x="293" y="831"/>
                      <a:pt x="292" y="831"/>
                    </a:cubicBezTo>
                    <a:cubicBezTo>
                      <a:pt x="290" y="831"/>
                      <a:pt x="275" y="838"/>
                      <a:pt x="266" y="835"/>
                    </a:cubicBezTo>
                    <a:cubicBezTo>
                      <a:pt x="266" y="835"/>
                      <a:pt x="266" y="835"/>
                      <a:pt x="266" y="835"/>
                    </a:cubicBezTo>
                    <a:cubicBezTo>
                      <a:pt x="266" y="835"/>
                      <a:pt x="265" y="835"/>
                      <a:pt x="265" y="835"/>
                    </a:cubicBezTo>
                    <a:cubicBezTo>
                      <a:pt x="265" y="835"/>
                      <a:pt x="264" y="835"/>
                      <a:pt x="264" y="835"/>
                    </a:cubicBezTo>
                    <a:cubicBezTo>
                      <a:pt x="264" y="835"/>
                      <a:pt x="264" y="835"/>
                      <a:pt x="264" y="835"/>
                    </a:cubicBezTo>
                    <a:cubicBezTo>
                      <a:pt x="263" y="835"/>
                      <a:pt x="263" y="835"/>
                      <a:pt x="262" y="835"/>
                    </a:cubicBezTo>
                    <a:cubicBezTo>
                      <a:pt x="257" y="839"/>
                      <a:pt x="259" y="855"/>
                      <a:pt x="259" y="855"/>
                    </a:cubicBezTo>
                    <a:cubicBezTo>
                      <a:pt x="235" y="852"/>
                      <a:pt x="235" y="852"/>
                      <a:pt x="235" y="852"/>
                    </a:cubicBezTo>
                    <a:cubicBezTo>
                      <a:pt x="232" y="868"/>
                      <a:pt x="232" y="868"/>
                      <a:pt x="232" y="868"/>
                    </a:cubicBezTo>
                    <a:cubicBezTo>
                      <a:pt x="208" y="894"/>
                      <a:pt x="208" y="894"/>
                      <a:pt x="208" y="894"/>
                    </a:cubicBezTo>
                    <a:cubicBezTo>
                      <a:pt x="210" y="925"/>
                      <a:pt x="210" y="925"/>
                      <a:pt x="210" y="925"/>
                    </a:cubicBezTo>
                    <a:cubicBezTo>
                      <a:pt x="187" y="912"/>
                      <a:pt x="187" y="912"/>
                      <a:pt x="187" y="912"/>
                    </a:cubicBezTo>
                    <a:cubicBezTo>
                      <a:pt x="187" y="912"/>
                      <a:pt x="188" y="904"/>
                      <a:pt x="188" y="897"/>
                    </a:cubicBezTo>
                    <a:cubicBezTo>
                      <a:pt x="188" y="896"/>
                      <a:pt x="188" y="895"/>
                      <a:pt x="188" y="895"/>
                    </a:cubicBezTo>
                    <a:cubicBezTo>
                      <a:pt x="188" y="895"/>
                      <a:pt x="188" y="895"/>
                      <a:pt x="188" y="895"/>
                    </a:cubicBezTo>
                    <a:cubicBezTo>
                      <a:pt x="188" y="894"/>
                      <a:pt x="188" y="894"/>
                      <a:pt x="188" y="893"/>
                    </a:cubicBezTo>
                    <a:cubicBezTo>
                      <a:pt x="188" y="893"/>
                      <a:pt x="188" y="893"/>
                      <a:pt x="188" y="893"/>
                    </a:cubicBezTo>
                    <a:cubicBezTo>
                      <a:pt x="188" y="892"/>
                      <a:pt x="188" y="892"/>
                      <a:pt x="188" y="891"/>
                    </a:cubicBezTo>
                    <a:cubicBezTo>
                      <a:pt x="188" y="891"/>
                      <a:pt x="188" y="891"/>
                      <a:pt x="188" y="891"/>
                    </a:cubicBezTo>
                    <a:cubicBezTo>
                      <a:pt x="188" y="890"/>
                      <a:pt x="188" y="890"/>
                      <a:pt x="188" y="889"/>
                    </a:cubicBezTo>
                    <a:cubicBezTo>
                      <a:pt x="188" y="882"/>
                      <a:pt x="182" y="876"/>
                      <a:pt x="180" y="880"/>
                    </a:cubicBezTo>
                    <a:cubicBezTo>
                      <a:pt x="178" y="883"/>
                      <a:pt x="174" y="891"/>
                      <a:pt x="169" y="889"/>
                    </a:cubicBezTo>
                    <a:cubicBezTo>
                      <a:pt x="165" y="887"/>
                      <a:pt x="165" y="901"/>
                      <a:pt x="165" y="906"/>
                    </a:cubicBezTo>
                    <a:cubicBezTo>
                      <a:pt x="165" y="912"/>
                      <a:pt x="158" y="916"/>
                      <a:pt x="158" y="916"/>
                    </a:cubicBezTo>
                    <a:cubicBezTo>
                      <a:pt x="128" y="913"/>
                      <a:pt x="128" y="913"/>
                      <a:pt x="128" y="913"/>
                    </a:cubicBezTo>
                    <a:cubicBezTo>
                      <a:pt x="109" y="901"/>
                      <a:pt x="109" y="901"/>
                      <a:pt x="109" y="901"/>
                    </a:cubicBezTo>
                    <a:cubicBezTo>
                      <a:pt x="101" y="868"/>
                      <a:pt x="101" y="868"/>
                      <a:pt x="101" y="868"/>
                    </a:cubicBezTo>
                    <a:cubicBezTo>
                      <a:pt x="86" y="838"/>
                      <a:pt x="86" y="838"/>
                      <a:pt x="86" y="838"/>
                    </a:cubicBezTo>
                    <a:cubicBezTo>
                      <a:pt x="79" y="825"/>
                      <a:pt x="79" y="825"/>
                      <a:pt x="79" y="825"/>
                    </a:cubicBezTo>
                    <a:cubicBezTo>
                      <a:pt x="85" y="817"/>
                      <a:pt x="113" y="803"/>
                      <a:pt x="109" y="795"/>
                    </a:cubicBezTo>
                    <a:cubicBezTo>
                      <a:pt x="100" y="799"/>
                      <a:pt x="94" y="797"/>
                      <a:pt x="82" y="793"/>
                    </a:cubicBezTo>
                    <a:cubicBezTo>
                      <a:pt x="73" y="787"/>
                      <a:pt x="90" y="786"/>
                      <a:pt x="94" y="791"/>
                    </a:cubicBezTo>
                    <a:cubicBezTo>
                      <a:pt x="99" y="777"/>
                      <a:pt x="109" y="764"/>
                      <a:pt x="116" y="750"/>
                    </a:cubicBezTo>
                    <a:cubicBezTo>
                      <a:pt x="128" y="738"/>
                      <a:pt x="100" y="729"/>
                      <a:pt x="92" y="720"/>
                    </a:cubicBezTo>
                    <a:cubicBezTo>
                      <a:pt x="76" y="711"/>
                      <a:pt x="64" y="704"/>
                      <a:pt x="79" y="688"/>
                    </a:cubicBezTo>
                    <a:cubicBezTo>
                      <a:pt x="88" y="665"/>
                      <a:pt x="119" y="655"/>
                      <a:pt x="125" y="633"/>
                    </a:cubicBezTo>
                    <a:cubicBezTo>
                      <a:pt x="118" y="634"/>
                      <a:pt x="125" y="625"/>
                      <a:pt x="120" y="618"/>
                    </a:cubicBezTo>
                    <a:cubicBezTo>
                      <a:pt x="115" y="613"/>
                      <a:pt x="107" y="620"/>
                      <a:pt x="111" y="610"/>
                    </a:cubicBezTo>
                    <a:cubicBezTo>
                      <a:pt x="105" y="612"/>
                      <a:pt x="116" y="590"/>
                      <a:pt x="101" y="604"/>
                    </a:cubicBezTo>
                    <a:cubicBezTo>
                      <a:pt x="87" y="622"/>
                      <a:pt x="100" y="592"/>
                      <a:pt x="89" y="587"/>
                    </a:cubicBezTo>
                    <a:cubicBezTo>
                      <a:pt x="81" y="580"/>
                      <a:pt x="88" y="574"/>
                      <a:pt x="77" y="571"/>
                    </a:cubicBezTo>
                    <a:cubicBezTo>
                      <a:pt x="70" y="566"/>
                      <a:pt x="79" y="557"/>
                      <a:pt x="87" y="555"/>
                    </a:cubicBezTo>
                    <a:cubicBezTo>
                      <a:pt x="96" y="551"/>
                      <a:pt x="101" y="558"/>
                      <a:pt x="110" y="547"/>
                    </a:cubicBezTo>
                    <a:cubicBezTo>
                      <a:pt x="118" y="540"/>
                      <a:pt x="106" y="532"/>
                      <a:pt x="109" y="521"/>
                    </a:cubicBezTo>
                    <a:cubicBezTo>
                      <a:pt x="110" y="518"/>
                      <a:pt x="104" y="521"/>
                      <a:pt x="105" y="517"/>
                    </a:cubicBezTo>
                    <a:cubicBezTo>
                      <a:pt x="112" y="517"/>
                      <a:pt x="124" y="494"/>
                      <a:pt x="108" y="489"/>
                    </a:cubicBezTo>
                    <a:cubicBezTo>
                      <a:pt x="101" y="479"/>
                      <a:pt x="93" y="490"/>
                      <a:pt x="87" y="494"/>
                    </a:cubicBezTo>
                    <a:cubicBezTo>
                      <a:pt x="90" y="491"/>
                      <a:pt x="72" y="493"/>
                      <a:pt x="69" y="500"/>
                    </a:cubicBezTo>
                    <a:cubicBezTo>
                      <a:pt x="61" y="498"/>
                      <a:pt x="68" y="474"/>
                      <a:pt x="50" y="479"/>
                    </a:cubicBezTo>
                    <a:cubicBezTo>
                      <a:pt x="46" y="468"/>
                      <a:pt x="40" y="463"/>
                      <a:pt x="50" y="455"/>
                    </a:cubicBezTo>
                    <a:cubicBezTo>
                      <a:pt x="62" y="448"/>
                      <a:pt x="50" y="435"/>
                      <a:pt x="44" y="426"/>
                    </a:cubicBezTo>
                    <a:cubicBezTo>
                      <a:pt x="51" y="417"/>
                      <a:pt x="36" y="408"/>
                      <a:pt x="41" y="402"/>
                    </a:cubicBezTo>
                    <a:cubicBezTo>
                      <a:pt x="46" y="398"/>
                      <a:pt x="62" y="390"/>
                      <a:pt x="59" y="387"/>
                    </a:cubicBezTo>
                    <a:cubicBezTo>
                      <a:pt x="52" y="384"/>
                      <a:pt x="48" y="377"/>
                      <a:pt x="46" y="368"/>
                    </a:cubicBezTo>
                    <a:cubicBezTo>
                      <a:pt x="35" y="364"/>
                      <a:pt x="27" y="371"/>
                      <a:pt x="19" y="362"/>
                    </a:cubicBezTo>
                    <a:cubicBezTo>
                      <a:pt x="10" y="363"/>
                      <a:pt x="9" y="356"/>
                      <a:pt x="0" y="353"/>
                    </a:cubicBezTo>
                    <a:cubicBezTo>
                      <a:pt x="6" y="347"/>
                      <a:pt x="22" y="353"/>
                      <a:pt x="22" y="339"/>
                    </a:cubicBezTo>
                    <a:cubicBezTo>
                      <a:pt x="17" y="322"/>
                      <a:pt x="40" y="320"/>
                      <a:pt x="41" y="306"/>
                    </a:cubicBezTo>
                    <a:cubicBezTo>
                      <a:pt x="38" y="295"/>
                      <a:pt x="38" y="291"/>
                      <a:pt x="35" y="280"/>
                    </a:cubicBezTo>
                    <a:cubicBezTo>
                      <a:pt x="17" y="275"/>
                      <a:pt x="26" y="262"/>
                      <a:pt x="33" y="254"/>
                    </a:cubicBezTo>
                    <a:cubicBezTo>
                      <a:pt x="42" y="241"/>
                      <a:pt x="44" y="269"/>
                      <a:pt x="57" y="260"/>
                    </a:cubicBezTo>
                    <a:cubicBezTo>
                      <a:pt x="62" y="257"/>
                      <a:pt x="71" y="248"/>
                      <a:pt x="81" y="250"/>
                    </a:cubicBezTo>
                    <a:cubicBezTo>
                      <a:pt x="92" y="249"/>
                      <a:pt x="97" y="254"/>
                      <a:pt x="102" y="252"/>
                    </a:cubicBezTo>
                    <a:cubicBezTo>
                      <a:pt x="98" y="241"/>
                      <a:pt x="104" y="229"/>
                      <a:pt x="115" y="230"/>
                    </a:cubicBezTo>
                    <a:cubicBezTo>
                      <a:pt x="126" y="234"/>
                      <a:pt x="131" y="236"/>
                      <a:pt x="134" y="232"/>
                    </a:cubicBezTo>
                    <a:cubicBezTo>
                      <a:pt x="143" y="236"/>
                      <a:pt x="145" y="230"/>
                      <a:pt x="152" y="229"/>
                    </a:cubicBez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1" name="Freeform 6">
                <a:extLst>
                  <a:ext uri="{FF2B5EF4-FFF2-40B4-BE49-F238E27FC236}">
                    <a16:creationId xmlns:a16="http://schemas.microsoft.com/office/drawing/2014/main" id="{3E0216A2-90D5-46D4-B683-C8F3CD67C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31265" y="3043239"/>
                <a:ext cx="1879601" cy="1874838"/>
              </a:xfrm>
              <a:custGeom>
                <a:avLst/>
                <a:gdLst>
                  <a:gd name="T0" fmla="*/ 515 w 1121"/>
                  <a:gd name="T1" fmla="*/ 996 h 1121"/>
                  <a:gd name="T2" fmla="*/ 471 w 1121"/>
                  <a:gd name="T3" fmla="*/ 972 h 1121"/>
                  <a:gd name="T4" fmla="*/ 372 w 1121"/>
                  <a:gd name="T5" fmla="*/ 947 h 1121"/>
                  <a:gd name="T6" fmla="*/ 305 w 1121"/>
                  <a:gd name="T7" fmla="*/ 989 h 1121"/>
                  <a:gd name="T8" fmla="*/ 258 w 1121"/>
                  <a:gd name="T9" fmla="*/ 1019 h 1121"/>
                  <a:gd name="T10" fmla="*/ 217 w 1121"/>
                  <a:gd name="T11" fmla="*/ 1062 h 1121"/>
                  <a:gd name="T12" fmla="*/ 165 w 1121"/>
                  <a:gd name="T13" fmla="*/ 1082 h 1121"/>
                  <a:gd name="T14" fmla="*/ 72 w 1121"/>
                  <a:gd name="T15" fmla="*/ 1117 h 1121"/>
                  <a:gd name="T16" fmla="*/ 29 w 1121"/>
                  <a:gd name="T17" fmla="*/ 1105 h 1121"/>
                  <a:gd name="T18" fmla="*/ 5 w 1121"/>
                  <a:gd name="T19" fmla="*/ 1069 h 1121"/>
                  <a:gd name="T20" fmla="*/ 9 w 1121"/>
                  <a:gd name="T21" fmla="*/ 1049 h 1121"/>
                  <a:gd name="T22" fmla="*/ 29 w 1121"/>
                  <a:gd name="T23" fmla="*/ 1013 h 1121"/>
                  <a:gd name="T24" fmla="*/ 21 w 1121"/>
                  <a:gd name="T25" fmla="*/ 961 h 1121"/>
                  <a:gd name="T26" fmla="*/ 30 w 1121"/>
                  <a:gd name="T27" fmla="*/ 887 h 1121"/>
                  <a:gd name="T28" fmla="*/ 69 w 1121"/>
                  <a:gd name="T29" fmla="*/ 793 h 1121"/>
                  <a:gd name="T30" fmla="*/ 74 w 1121"/>
                  <a:gd name="T31" fmla="*/ 688 h 1121"/>
                  <a:gd name="T32" fmla="*/ 85 w 1121"/>
                  <a:gd name="T33" fmla="*/ 665 h 1121"/>
                  <a:gd name="T34" fmla="*/ 76 w 1121"/>
                  <a:gd name="T35" fmla="*/ 624 h 1121"/>
                  <a:gd name="T36" fmla="*/ 78 w 1121"/>
                  <a:gd name="T37" fmla="*/ 583 h 1121"/>
                  <a:gd name="T38" fmla="*/ 79 w 1121"/>
                  <a:gd name="T39" fmla="*/ 500 h 1121"/>
                  <a:gd name="T40" fmla="*/ 66 w 1121"/>
                  <a:gd name="T41" fmla="*/ 450 h 1121"/>
                  <a:gd name="T42" fmla="*/ 148 w 1121"/>
                  <a:gd name="T43" fmla="*/ 429 h 1121"/>
                  <a:gd name="T44" fmla="*/ 282 w 1121"/>
                  <a:gd name="T45" fmla="*/ 402 h 1121"/>
                  <a:gd name="T46" fmla="*/ 284 w 1121"/>
                  <a:gd name="T47" fmla="*/ 309 h 1121"/>
                  <a:gd name="T48" fmla="*/ 305 w 1121"/>
                  <a:gd name="T49" fmla="*/ 267 h 1121"/>
                  <a:gd name="T50" fmla="*/ 328 w 1121"/>
                  <a:gd name="T51" fmla="*/ 261 h 1121"/>
                  <a:gd name="T52" fmla="*/ 364 w 1121"/>
                  <a:gd name="T53" fmla="*/ 271 h 1121"/>
                  <a:gd name="T54" fmla="*/ 402 w 1121"/>
                  <a:gd name="T55" fmla="*/ 280 h 1121"/>
                  <a:gd name="T56" fmla="*/ 494 w 1121"/>
                  <a:gd name="T57" fmla="*/ 263 h 1121"/>
                  <a:gd name="T58" fmla="*/ 510 w 1121"/>
                  <a:gd name="T59" fmla="*/ 241 h 1121"/>
                  <a:gd name="T60" fmla="*/ 576 w 1121"/>
                  <a:gd name="T61" fmla="*/ 204 h 1121"/>
                  <a:gd name="T62" fmla="*/ 642 w 1121"/>
                  <a:gd name="T63" fmla="*/ 205 h 1121"/>
                  <a:gd name="T64" fmla="*/ 699 w 1121"/>
                  <a:gd name="T65" fmla="*/ 215 h 1121"/>
                  <a:gd name="T66" fmla="*/ 764 w 1121"/>
                  <a:gd name="T67" fmla="*/ 144 h 1121"/>
                  <a:gd name="T68" fmla="*/ 758 w 1121"/>
                  <a:gd name="T69" fmla="*/ 85 h 1121"/>
                  <a:gd name="T70" fmla="*/ 730 w 1121"/>
                  <a:gd name="T71" fmla="*/ 45 h 1121"/>
                  <a:gd name="T72" fmla="*/ 789 w 1121"/>
                  <a:gd name="T73" fmla="*/ 0 h 1121"/>
                  <a:gd name="T74" fmla="*/ 871 w 1121"/>
                  <a:gd name="T75" fmla="*/ 10 h 1121"/>
                  <a:gd name="T76" fmla="*/ 951 w 1121"/>
                  <a:gd name="T77" fmla="*/ 116 h 1121"/>
                  <a:gd name="T78" fmla="*/ 969 w 1121"/>
                  <a:gd name="T79" fmla="*/ 211 h 1121"/>
                  <a:gd name="T80" fmla="*/ 996 w 1121"/>
                  <a:gd name="T81" fmla="*/ 302 h 1121"/>
                  <a:gd name="T82" fmla="*/ 1021 w 1121"/>
                  <a:gd name="T83" fmla="*/ 429 h 1121"/>
                  <a:gd name="T84" fmla="*/ 1018 w 1121"/>
                  <a:gd name="T85" fmla="*/ 512 h 1121"/>
                  <a:gd name="T86" fmla="*/ 1023 w 1121"/>
                  <a:gd name="T87" fmla="*/ 550 h 1121"/>
                  <a:gd name="T88" fmla="*/ 1054 w 1121"/>
                  <a:gd name="T89" fmla="*/ 589 h 1121"/>
                  <a:gd name="T90" fmla="*/ 1121 w 1121"/>
                  <a:gd name="T91" fmla="*/ 681 h 1121"/>
                  <a:gd name="T92" fmla="*/ 1093 w 1121"/>
                  <a:gd name="T93" fmla="*/ 756 h 1121"/>
                  <a:gd name="T94" fmla="*/ 1106 w 1121"/>
                  <a:gd name="T95" fmla="*/ 806 h 1121"/>
                  <a:gd name="T96" fmla="*/ 1042 w 1121"/>
                  <a:gd name="T97" fmla="*/ 806 h 1121"/>
                  <a:gd name="T98" fmla="*/ 936 w 1121"/>
                  <a:gd name="T99" fmla="*/ 780 h 1121"/>
                  <a:gd name="T100" fmla="*/ 860 w 1121"/>
                  <a:gd name="T101" fmla="*/ 787 h 1121"/>
                  <a:gd name="T102" fmla="*/ 792 w 1121"/>
                  <a:gd name="T103" fmla="*/ 840 h 1121"/>
                  <a:gd name="T104" fmla="*/ 731 w 1121"/>
                  <a:gd name="T105" fmla="*/ 812 h 1121"/>
                  <a:gd name="T106" fmla="*/ 671 w 1121"/>
                  <a:gd name="T107" fmla="*/ 896 h 1121"/>
                  <a:gd name="T108" fmla="*/ 589 w 1121"/>
                  <a:gd name="T109" fmla="*/ 935 h 1121"/>
                  <a:gd name="T110" fmla="*/ 523 w 1121"/>
                  <a:gd name="T111" fmla="*/ 912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1" h="1121">
                    <a:moveTo>
                      <a:pt x="523" y="948"/>
                    </a:moveTo>
                    <a:cubicBezTo>
                      <a:pt x="542" y="957"/>
                      <a:pt x="513" y="946"/>
                      <a:pt x="517" y="956"/>
                    </a:cubicBezTo>
                    <a:cubicBezTo>
                      <a:pt x="510" y="971"/>
                      <a:pt x="541" y="960"/>
                      <a:pt x="524" y="974"/>
                    </a:cubicBezTo>
                    <a:cubicBezTo>
                      <a:pt x="505" y="981"/>
                      <a:pt x="528" y="989"/>
                      <a:pt x="515" y="996"/>
                    </a:cubicBezTo>
                    <a:cubicBezTo>
                      <a:pt x="510" y="996"/>
                      <a:pt x="499" y="1000"/>
                      <a:pt x="494" y="1000"/>
                    </a:cubicBezTo>
                    <a:cubicBezTo>
                      <a:pt x="493" y="1000"/>
                      <a:pt x="493" y="1000"/>
                      <a:pt x="493" y="1000"/>
                    </a:cubicBezTo>
                    <a:cubicBezTo>
                      <a:pt x="493" y="997"/>
                      <a:pt x="488" y="994"/>
                      <a:pt x="478" y="996"/>
                    </a:cubicBezTo>
                    <a:cubicBezTo>
                      <a:pt x="467" y="990"/>
                      <a:pt x="485" y="978"/>
                      <a:pt x="471" y="972"/>
                    </a:cubicBezTo>
                    <a:cubicBezTo>
                      <a:pt x="461" y="969"/>
                      <a:pt x="446" y="968"/>
                      <a:pt x="445" y="960"/>
                    </a:cubicBezTo>
                    <a:cubicBezTo>
                      <a:pt x="447" y="948"/>
                      <a:pt x="440" y="943"/>
                      <a:pt x="429" y="937"/>
                    </a:cubicBezTo>
                    <a:cubicBezTo>
                      <a:pt x="419" y="935"/>
                      <a:pt x="402" y="936"/>
                      <a:pt x="397" y="938"/>
                    </a:cubicBezTo>
                    <a:cubicBezTo>
                      <a:pt x="388" y="934"/>
                      <a:pt x="373" y="936"/>
                      <a:pt x="372" y="947"/>
                    </a:cubicBezTo>
                    <a:cubicBezTo>
                      <a:pt x="366" y="961"/>
                      <a:pt x="345" y="952"/>
                      <a:pt x="337" y="966"/>
                    </a:cubicBezTo>
                    <a:cubicBezTo>
                      <a:pt x="330" y="982"/>
                      <a:pt x="322" y="957"/>
                      <a:pt x="315" y="969"/>
                    </a:cubicBezTo>
                    <a:cubicBezTo>
                      <a:pt x="315" y="969"/>
                      <a:pt x="304" y="970"/>
                      <a:pt x="304" y="975"/>
                    </a:cubicBezTo>
                    <a:cubicBezTo>
                      <a:pt x="304" y="980"/>
                      <a:pt x="302" y="983"/>
                      <a:pt x="305" y="989"/>
                    </a:cubicBezTo>
                    <a:cubicBezTo>
                      <a:pt x="309" y="995"/>
                      <a:pt x="303" y="1001"/>
                      <a:pt x="303" y="1006"/>
                    </a:cubicBezTo>
                    <a:cubicBezTo>
                      <a:pt x="303" y="1011"/>
                      <a:pt x="302" y="1018"/>
                      <a:pt x="292" y="1017"/>
                    </a:cubicBezTo>
                    <a:cubicBezTo>
                      <a:pt x="283" y="1015"/>
                      <a:pt x="295" y="1012"/>
                      <a:pt x="283" y="1015"/>
                    </a:cubicBezTo>
                    <a:cubicBezTo>
                      <a:pt x="271" y="1019"/>
                      <a:pt x="264" y="1017"/>
                      <a:pt x="258" y="1019"/>
                    </a:cubicBezTo>
                    <a:cubicBezTo>
                      <a:pt x="252" y="1021"/>
                      <a:pt x="240" y="1030"/>
                      <a:pt x="240" y="1030"/>
                    </a:cubicBezTo>
                    <a:cubicBezTo>
                      <a:pt x="240" y="1030"/>
                      <a:pt x="247" y="1046"/>
                      <a:pt x="248" y="1050"/>
                    </a:cubicBezTo>
                    <a:cubicBezTo>
                      <a:pt x="249" y="1054"/>
                      <a:pt x="242" y="1063"/>
                      <a:pt x="237" y="1064"/>
                    </a:cubicBezTo>
                    <a:cubicBezTo>
                      <a:pt x="233" y="1065"/>
                      <a:pt x="223" y="1063"/>
                      <a:pt x="217" y="1062"/>
                    </a:cubicBezTo>
                    <a:cubicBezTo>
                      <a:pt x="211" y="1061"/>
                      <a:pt x="210" y="1043"/>
                      <a:pt x="210" y="1043"/>
                    </a:cubicBezTo>
                    <a:cubicBezTo>
                      <a:pt x="199" y="1043"/>
                      <a:pt x="199" y="1043"/>
                      <a:pt x="199" y="1043"/>
                    </a:cubicBezTo>
                    <a:cubicBezTo>
                      <a:pt x="199" y="1043"/>
                      <a:pt x="183" y="1069"/>
                      <a:pt x="182" y="1074"/>
                    </a:cubicBezTo>
                    <a:cubicBezTo>
                      <a:pt x="180" y="1079"/>
                      <a:pt x="165" y="1082"/>
                      <a:pt x="165" y="1082"/>
                    </a:cubicBezTo>
                    <a:cubicBezTo>
                      <a:pt x="165" y="1082"/>
                      <a:pt x="138" y="1077"/>
                      <a:pt x="132" y="1080"/>
                    </a:cubicBezTo>
                    <a:cubicBezTo>
                      <a:pt x="126" y="1082"/>
                      <a:pt x="105" y="1092"/>
                      <a:pt x="105" y="1092"/>
                    </a:cubicBezTo>
                    <a:cubicBezTo>
                      <a:pt x="105" y="1092"/>
                      <a:pt x="96" y="1108"/>
                      <a:pt x="94" y="1112"/>
                    </a:cubicBezTo>
                    <a:cubicBezTo>
                      <a:pt x="91" y="1115"/>
                      <a:pt x="79" y="1117"/>
                      <a:pt x="72" y="1117"/>
                    </a:cubicBezTo>
                    <a:cubicBezTo>
                      <a:pt x="65" y="1117"/>
                      <a:pt x="47" y="1117"/>
                      <a:pt x="47" y="1117"/>
                    </a:cubicBezTo>
                    <a:cubicBezTo>
                      <a:pt x="26" y="1121"/>
                      <a:pt x="26" y="1121"/>
                      <a:pt x="26" y="1121"/>
                    </a:cubicBezTo>
                    <a:cubicBezTo>
                      <a:pt x="26" y="1121"/>
                      <a:pt x="27" y="1114"/>
                      <a:pt x="28" y="1109"/>
                    </a:cubicBezTo>
                    <a:cubicBezTo>
                      <a:pt x="29" y="1105"/>
                      <a:pt x="29" y="1105"/>
                      <a:pt x="29" y="1105"/>
                    </a:cubicBezTo>
                    <a:cubicBezTo>
                      <a:pt x="14" y="1107"/>
                      <a:pt x="14" y="1107"/>
                      <a:pt x="14" y="1107"/>
                    </a:cubicBezTo>
                    <a:cubicBezTo>
                      <a:pt x="7" y="1095"/>
                      <a:pt x="7" y="1095"/>
                      <a:pt x="7" y="1095"/>
                    </a:cubicBezTo>
                    <a:cubicBezTo>
                      <a:pt x="6" y="1073"/>
                      <a:pt x="6" y="1073"/>
                      <a:pt x="6" y="1073"/>
                    </a:cubicBezTo>
                    <a:cubicBezTo>
                      <a:pt x="5" y="1069"/>
                      <a:pt x="5" y="1069"/>
                      <a:pt x="5" y="1069"/>
                    </a:cubicBezTo>
                    <a:cubicBezTo>
                      <a:pt x="3" y="1064"/>
                      <a:pt x="3" y="1064"/>
                      <a:pt x="3" y="1064"/>
                    </a:cubicBezTo>
                    <a:cubicBezTo>
                      <a:pt x="0" y="1054"/>
                      <a:pt x="0" y="1054"/>
                      <a:pt x="0" y="1054"/>
                    </a:cubicBezTo>
                    <a:cubicBezTo>
                      <a:pt x="2" y="1046"/>
                      <a:pt x="2" y="1046"/>
                      <a:pt x="2" y="1046"/>
                    </a:cubicBezTo>
                    <a:cubicBezTo>
                      <a:pt x="9" y="1049"/>
                      <a:pt x="9" y="1049"/>
                      <a:pt x="9" y="1049"/>
                    </a:cubicBezTo>
                    <a:cubicBezTo>
                      <a:pt x="17" y="1035"/>
                      <a:pt x="17" y="1035"/>
                      <a:pt x="17" y="1035"/>
                    </a:cubicBezTo>
                    <a:cubicBezTo>
                      <a:pt x="19" y="1013"/>
                      <a:pt x="19" y="1013"/>
                      <a:pt x="19" y="1013"/>
                    </a:cubicBezTo>
                    <a:cubicBezTo>
                      <a:pt x="27" y="1013"/>
                      <a:pt x="27" y="1013"/>
                      <a:pt x="27" y="1013"/>
                    </a:cubicBezTo>
                    <a:cubicBezTo>
                      <a:pt x="29" y="1013"/>
                      <a:pt x="29" y="1013"/>
                      <a:pt x="29" y="1013"/>
                    </a:cubicBezTo>
                    <a:cubicBezTo>
                      <a:pt x="30" y="1008"/>
                      <a:pt x="30" y="1008"/>
                      <a:pt x="30" y="1008"/>
                    </a:cubicBezTo>
                    <a:cubicBezTo>
                      <a:pt x="28" y="1001"/>
                      <a:pt x="28" y="1001"/>
                      <a:pt x="28" y="1001"/>
                    </a:cubicBezTo>
                    <a:cubicBezTo>
                      <a:pt x="30" y="986"/>
                      <a:pt x="30" y="986"/>
                      <a:pt x="30" y="986"/>
                    </a:cubicBezTo>
                    <a:cubicBezTo>
                      <a:pt x="21" y="961"/>
                      <a:pt x="21" y="961"/>
                      <a:pt x="21" y="961"/>
                    </a:cubicBezTo>
                    <a:cubicBezTo>
                      <a:pt x="24" y="926"/>
                      <a:pt x="24" y="926"/>
                      <a:pt x="24" y="926"/>
                    </a:cubicBezTo>
                    <a:cubicBezTo>
                      <a:pt x="22" y="914"/>
                      <a:pt x="22" y="914"/>
                      <a:pt x="22" y="914"/>
                    </a:cubicBezTo>
                    <a:cubicBezTo>
                      <a:pt x="30" y="899"/>
                      <a:pt x="30" y="899"/>
                      <a:pt x="30" y="899"/>
                    </a:cubicBezTo>
                    <a:cubicBezTo>
                      <a:pt x="30" y="887"/>
                      <a:pt x="30" y="887"/>
                      <a:pt x="30" y="887"/>
                    </a:cubicBezTo>
                    <a:cubicBezTo>
                      <a:pt x="52" y="840"/>
                      <a:pt x="52" y="840"/>
                      <a:pt x="52" y="840"/>
                    </a:cubicBezTo>
                    <a:cubicBezTo>
                      <a:pt x="62" y="833"/>
                      <a:pt x="62" y="833"/>
                      <a:pt x="62" y="833"/>
                    </a:cubicBezTo>
                    <a:cubicBezTo>
                      <a:pt x="72" y="813"/>
                      <a:pt x="72" y="813"/>
                      <a:pt x="72" y="813"/>
                    </a:cubicBezTo>
                    <a:cubicBezTo>
                      <a:pt x="69" y="793"/>
                      <a:pt x="69" y="793"/>
                      <a:pt x="69" y="793"/>
                    </a:cubicBezTo>
                    <a:cubicBezTo>
                      <a:pt x="66" y="774"/>
                      <a:pt x="66" y="774"/>
                      <a:pt x="66" y="774"/>
                    </a:cubicBezTo>
                    <a:cubicBezTo>
                      <a:pt x="67" y="769"/>
                      <a:pt x="67" y="769"/>
                      <a:pt x="67" y="769"/>
                    </a:cubicBezTo>
                    <a:cubicBezTo>
                      <a:pt x="73" y="734"/>
                      <a:pt x="73" y="734"/>
                      <a:pt x="73" y="734"/>
                    </a:cubicBezTo>
                    <a:cubicBezTo>
                      <a:pt x="74" y="688"/>
                      <a:pt x="74" y="688"/>
                      <a:pt x="74" y="688"/>
                    </a:cubicBezTo>
                    <a:cubicBezTo>
                      <a:pt x="71" y="681"/>
                      <a:pt x="71" y="681"/>
                      <a:pt x="71" y="681"/>
                    </a:cubicBezTo>
                    <a:cubicBezTo>
                      <a:pt x="79" y="674"/>
                      <a:pt x="79" y="674"/>
                      <a:pt x="79" y="674"/>
                    </a:cubicBezTo>
                    <a:cubicBezTo>
                      <a:pt x="83" y="668"/>
                      <a:pt x="83" y="668"/>
                      <a:pt x="83" y="668"/>
                    </a:cubicBezTo>
                    <a:cubicBezTo>
                      <a:pt x="85" y="665"/>
                      <a:pt x="85" y="665"/>
                      <a:pt x="85" y="665"/>
                    </a:cubicBezTo>
                    <a:cubicBezTo>
                      <a:pt x="90" y="649"/>
                      <a:pt x="90" y="649"/>
                      <a:pt x="90" y="649"/>
                    </a:cubicBezTo>
                    <a:cubicBezTo>
                      <a:pt x="81" y="643"/>
                      <a:pt x="81" y="643"/>
                      <a:pt x="81" y="643"/>
                    </a:cubicBezTo>
                    <a:cubicBezTo>
                      <a:pt x="80" y="630"/>
                      <a:pt x="80" y="630"/>
                      <a:pt x="80" y="630"/>
                    </a:cubicBezTo>
                    <a:cubicBezTo>
                      <a:pt x="76" y="624"/>
                      <a:pt x="76" y="624"/>
                      <a:pt x="76" y="624"/>
                    </a:cubicBezTo>
                    <a:cubicBezTo>
                      <a:pt x="77" y="620"/>
                      <a:pt x="77" y="620"/>
                      <a:pt x="77" y="620"/>
                    </a:cubicBezTo>
                    <a:cubicBezTo>
                      <a:pt x="79" y="616"/>
                      <a:pt x="79" y="616"/>
                      <a:pt x="79" y="616"/>
                    </a:cubicBezTo>
                    <a:cubicBezTo>
                      <a:pt x="73" y="608"/>
                      <a:pt x="73" y="608"/>
                      <a:pt x="73" y="608"/>
                    </a:cubicBezTo>
                    <a:cubicBezTo>
                      <a:pt x="75" y="600"/>
                      <a:pt x="75" y="592"/>
                      <a:pt x="78" y="583"/>
                    </a:cubicBezTo>
                    <a:cubicBezTo>
                      <a:pt x="78" y="577"/>
                      <a:pt x="84" y="568"/>
                      <a:pt x="90" y="566"/>
                    </a:cubicBezTo>
                    <a:cubicBezTo>
                      <a:pt x="95" y="562"/>
                      <a:pt x="98" y="559"/>
                      <a:pt x="96" y="554"/>
                    </a:cubicBezTo>
                    <a:cubicBezTo>
                      <a:pt x="91" y="544"/>
                      <a:pt x="88" y="535"/>
                      <a:pt x="87" y="523"/>
                    </a:cubicBezTo>
                    <a:cubicBezTo>
                      <a:pt x="79" y="513"/>
                      <a:pt x="73" y="508"/>
                      <a:pt x="79" y="500"/>
                    </a:cubicBezTo>
                    <a:cubicBezTo>
                      <a:pt x="73" y="491"/>
                      <a:pt x="75" y="486"/>
                      <a:pt x="72" y="479"/>
                    </a:cubicBezTo>
                    <a:cubicBezTo>
                      <a:pt x="68" y="478"/>
                      <a:pt x="68" y="472"/>
                      <a:pt x="66" y="470"/>
                    </a:cubicBezTo>
                    <a:cubicBezTo>
                      <a:pt x="66" y="461"/>
                      <a:pt x="66" y="461"/>
                      <a:pt x="66" y="461"/>
                    </a:cubicBezTo>
                    <a:cubicBezTo>
                      <a:pt x="63" y="452"/>
                      <a:pt x="69" y="459"/>
                      <a:pt x="66" y="450"/>
                    </a:cubicBezTo>
                    <a:cubicBezTo>
                      <a:pt x="75" y="454"/>
                      <a:pt x="68" y="447"/>
                      <a:pt x="74" y="442"/>
                    </a:cubicBezTo>
                    <a:cubicBezTo>
                      <a:pt x="85" y="439"/>
                      <a:pt x="64" y="432"/>
                      <a:pt x="81" y="427"/>
                    </a:cubicBezTo>
                    <a:cubicBezTo>
                      <a:pt x="90" y="432"/>
                      <a:pt x="104" y="454"/>
                      <a:pt x="113" y="432"/>
                    </a:cubicBezTo>
                    <a:cubicBezTo>
                      <a:pt x="121" y="439"/>
                      <a:pt x="138" y="446"/>
                      <a:pt x="148" y="429"/>
                    </a:cubicBezTo>
                    <a:cubicBezTo>
                      <a:pt x="167" y="415"/>
                      <a:pt x="189" y="399"/>
                      <a:pt x="208" y="389"/>
                    </a:cubicBezTo>
                    <a:cubicBezTo>
                      <a:pt x="229" y="394"/>
                      <a:pt x="229" y="366"/>
                      <a:pt x="240" y="371"/>
                    </a:cubicBezTo>
                    <a:cubicBezTo>
                      <a:pt x="255" y="368"/>
                      <a:pt x="270" y="379"/>
                      <a:pt x="269" y="393"/>
                    </a:cubicBezTo>
                    <a:cubicBezTo>
                      <a:pt x="266" y="410"/>
                      <a:pt x="299" y="415"/>
                      <a:pt x="282" y="402"/>
                    </a:cubicBezTo>
                    <a:cubicBezTo>
                      <a:pt x="285" y="396"/>
                      <a:pt x="287" y="375"/>
                      <a:pt x="297" y="375"/>
                    </a:cubicBezTo>
                    <a:cubicBezTo>
                      <a:pt x="305" y="382"/>
                      <a:pt x="303" y="368"/>
                      <a:pt x="309" y="363"/>
                    </a:cubicBezTo>
                    <a:cubicBezTo>
                      <a:pt x="315" y="359"/>
                      <a:pt x="315" y="359"/>
                      <a:pt x="315" y="359"/>
                    </a:cubicBezTo>
                    <a:cubicBezTo>
                      <a:pt x="284" y="309"/>
                      <a:pt x="284" y="309"/>
                      <a:pt x="284" y="309"/>
                    </a:cubicBezTo>
                    <a:cubicBezTo>
                      <a:pt x="284" y="309"/>
                      <a:pt x="271" y="293"/>
                      <a:pt x="275" y="291"/>
                    </a:cubicBezTo>
                    <a:cubicBezTo>
                      <a:pt x="280" y="289"/>
                      <a:pt x="289" y="283"/>
                      <a:pt x="289" y="283"/>
                    </a:cubicBezTo>
                    <a:cubicBezTo>
                      <a:pt x="290" y="272"/>
                      <a:pt x="290" y="272"/>
                      <a:pt x="290" y="272"/>
                    </a:cubicBezTo>
                    <a:cubicBezTo>
                      <a:pt x="290" y="272"/>
                      <a:pt x="305" y="274"/>
                      <a:pt x="305" y="267"/>
                    </a:cubicBezTo>
                    <a:cubicBezTo>
                      <a:pt x="305" y="260"/>
                      <a:pt x="299" y="253"/>
                      <a:pt x="299" y="253"/>
                    </a:cubicBezTo>
                    <a:cubicBezTo>
                      <a:pt x="306" y="249"/>
                      <a:pt x="306" y="249"/>
                      <a:pt x="306" y="249"/>
                    </a:cubicBezTo>
                    <a:cubicBezTo>
                      <a:pt x="316" y="263"/>
                      <a:pt x="316" y="263"/>
                      <a:pt x="316" y="263"/>
                    </a:cubicBezTo>
                    <a:cubicBezTo>
                      <a:pt x="328" y="261"/>
                      <a:pt x="328" y="261"/>
                      <a:pt x="328" y="261"/>
                    </a:cubicBezTo>
                    <a:cubicBezTo>
                      <a:pt x="328" y="261"/>
                      <a:pt x="327" y="282"/>
                      <a:pt x="339" y="284"/>
                    </a:cubicBezTo>
                    <a:cubicBezTo>
                      <a:pt x="350" y="286"/>
                      <a:pt x="350" y="276"/>
                      <a:pt x="350" y="276"/>
                    </a:cubicBezTo>
                    <a:cubicBezTo>
                      <a:pt x="349" y="263"/>
                      <a:pt x="349" y="263"/>
                      <a:pt x="349" y="263"/>
                    </a:cubicBezTo>
                    <a:cubicBezTo>
                      <a:pt x="364" y="271"/>
                      <a:pt x="364" y="271"/>
                      <a:pt x="364" y="271"/>
                    </a:cubicBezTo>
                    <a:cubicBezTo>
                      <a:pt x="381" y="277"/>
                      <a:pt x="381" y="277"/>
                      <a:pt x="381" y="277"/>
                    </a:cubicBezTo>
                    <a:cubicBezTo>
                      <a:pt x="380" y="265"/>
                      <a:pt x="380" y="265"/>
                      <a:pt x="380" y="265"/>
                    </a:cubicBezTo>
                    <a:cubicBezTo>
                      <a:pt x="391" y="266"/>
                      <a:pt x="391" y="266"/>
                      <a:pt x="391" y="266"/>
                    </a:cubicBezTo>
                    <a:cubicBezTo>
                      <a:pt x="402" y="280"/>
                      <a:pt x="402" y="280"/>
                      <a:pt x="402" y="280"/>
                    </a:cubicBezTo>
                    <a:cubicBezTo>
                      <a:pt x="402" y="280"/>
                      <a:pt x="423" y="285"/>
                      <a:pt x="427" y="288"/>
                    </a:cubicBezTo>
                    <a:cubicBezTo>
                      <a:pt x="430" y="290"/>
                      <a:pt x="438" y="296"/>
                      <a:pt x="446" y="290"/>
                    </a:cubicBezTo>
                    <a:cubicBezTo>
                      <a:pt x="446" y="290"/>
                      <a:pt x="454" y="273"/>
                      <a:pt x="466" y="272"/>
                    </a:cubicBezTo>
                    <a:cubicBezTo>
                      <a:pt x="478" y="271"/>
                      <a:pt x="494" y="263"/>
                      <a:pt x="494" y="263"/>
                    </a:cubicBezTo>
                    <a:cubicBezTo>
                      <a:pt x="507" y="283"/>
                      <a:pt x="507" y="283"/>
                      <a:pt x="507" y="283"/>
                    </a:cubicBezTo>
                    <a:cubicBezTo>
                      <a:pt x="523" y="269"/>
                      <a:pt x="523" y="269"/>
                      <a:pt x="523" y="269"/>
                    </a:cubicBezTo>
                    <a:cubicBezTo>
                      <a:pt x="506" y="248"/>
                      <a:pt x="506" y="248"/>
                      <a:pt x="506" y="248"/>
                    </a:cubicBezTo>
                    <a:cubicBezTo>
                      <a:pt x="510" y="241"/>
                      <a:pt x="510" y="241"/>
                      <a:pt x="510" y="241"/>
                    </a:cubicBezTo>
                    <a:cubicBezTo>
                      <a:pt x="503" y="229"/>
                      <a:pt x="503" y="229"/>
                      <a:pt x="503" y="229"/>
                    </a:cubicBezTo>
                    <a:cubicBezTo>
                      <a:pt x="548" y="205"/>
                      <a:pt x="548" y="205"/>
                      <a:pt x="548" y="205"/>
                    </a:cubicBezTo>
                    <a:cubicBezTo>
                      <a:pt x="570" y="192"/>
                      <a:pt x="570" y="192"/>
                      <a:pt x="570" y="192"/>
                    </a:cubicBezTo>
                    <a:cubicBezTo>
                      <a:pt x="576" y="204"/>
                      <a:pt x="576" y="204"/>
                      <a:pt x="576" y="204"/>
                    </a:cubicBezTo>
                    <a:cubicBezTo>
                      <a:pt x="592" y="198"/>
                      <a:pt x="592" y="198"/>
                      <a:pt x="592" y="198"/>
                    </a:cubicBezTo>
                    <a:cubicBezTo>
                      <a:pt x="592" y="198"/>
                      <a:pt x="601" y="214"/>
                      <a:pt x="610" y="209"/>
                    </a:cubicBezTo>
                    <a:cubicBezTo>
                      <a:pt x="618" y="204"/>
                      <a:pt x="629" y="195"/>
                      <a:pt x="635" y="196"/>
                    </a:cubicBezTo>
                    <a:cubicBezTo>
                      <a:pt x="641" y="197"/>
                      <a:pt x="642" y="205"/>
                      <a:pt x="642" y="205"/>
                    </a:cubicBezTo>
                    <a:cubicBezTo>
                      <a:pt x="655" y="201"/>
                      <a:pt x="655" y="201"/>
                      <a:pt x="655" y="201"/>
                    </a:cubicBezTo>
                    <a:cubicBezTo>
                      <a:pt x="666" y="205"/>
                      <a:pt x="666" y="205"/>
                      <a:pt x="666" y="205"/>
                    </a:cubicBezTo>
                    <a:cubicBezTo>
                      <a:pt x="681" y="220"/>
                      <a:pt x="681" y="220"/>
                      <a:pt x="681" y="220"/>
                    </a:cubicBezTo>
                    <a:cubicBezTo>
                      <a:pt x="681" y="220"/>
                      <a:pt x="693" y="214"/>
                      <a:pt x="699" y="215"/>
                    </a:cubicBezTo>
                    <a:cubicBezTo>
                      <a:pt x="705" y="216"/>
                      <a:pt x="718" y="220"/>
                      <a:pt x="718" y="220"/>
                    </a:cubicBezTo>
                    <a:cubicBezTo>
                      <a:pt x="741" y="171"/>
                      <a:pt x="741" y="171"/>
                      <a:pt x="741" y="171"/>
                    </a:cubicBezTo>
                    <a:cubicBezTo>
                      <a:pt x="746" y="144"/>
                      <a:pt x="746" y="144"/>
                      <a:pt x="746" y="144"/>
                    </a:cubicBezTo>
                    <a:cubicBezTo>
                      <a:pt x="764" y="144"/>
                      <a:pt x="764" y="144"/>
                      <a:pt x="764" y="144"/>
                    </a:cubicBezTo>
                    <a:cubicBezTo>
                      <a:pt x="770" y="135"/>
                      <a:pt x="770" y="135"/>
                      <a:pt x="770" y="135"/>
                    </a:cubicBezTo>
                    <a:cubicBezTo>
                      <a:pt x="782" y="140"/>
                      <a:pt x="782" y="140"/>
                      <a:pt x="782" y="140"/>
                    </a:cubicBezTo>
                    <a:cubicBezTo>
                      <a:pt x="782" y="140"/>
                      <a:pt x="774" y="121"/>
                      <a:pt x="769" y="115"/>
                    </a:cubicBezTo>
                    <a:cubicBezTo>
                      <a:pt x="764" y="109"/>
                      <a:pt x="758" y="98"/>
                      <a:pt x="758" y="85"/>
                    </a:cubicBezTo>
                    <a:cubicBezTo>
                      <a:pt x="758" y="72"/>
                      <a:pt x="755" y="64"/>
                      <a:pt x="752" y="58"/>
                    </a:cubicBezTo>
                    <a:cubicBezTo>
                      <a:pt x="750" y="52"/>
                      <a:pt x="750" y="52"/>
                      <a:pt x="750" y="52"/>
                    </a:cubicBezTo>
                    <a:cubicBezTo>
                      <a:pt x="733" y="52"/>
                      <a:pt x="733" y="52"/>
                      <a:pt x="733" y="52"/>
                    </a:cubicBezTo>
                    <a:cubicBezTo>
                      <a:pt x="730" y="45"/>
                      <a:pt x="730" y="45"/>
                      <a:pt x="730" y="45"/>
                    </a:cubicBezTo>
                    <a:cubicBezTo>
                      <a:pt x="743" y="38"/>
                      <a:pt x="743" y="38"/>
                      <a:pt x="743" y="38"/>
                    </a:cubicBezTo>
                    <a:cubicBezTo>
                      <a:pt x="745" y="27"/>
                      <a:pt x="745" y="27"/>
                      <a:pt x="745" y="27"/>
                    </a:cubicBezTo>
                    <a:cubicBezTo>
                      <a:pt x="745" y="27"/>
                      <a:pt x="757" y="7"/>
                      <a:pt x="768" y="7"/>
                    </a:cubicBezTo>
                    <a:cubicBezTo>
                      <a:pt x="779" y="7"/>
                      <a:pt x="789" y="0"/>
                      <a:pt x="789" y="0"/>
                    </a:cubicBezTo>
                    <a:cubicBezTo>
                      <a:pt x="798" y="0"/>
                      <a:pt x="798" y="0"/>
                      <a:pt x="798" y="0"/>
                    </a:cubicBezTo>
                    <a:cubicBezTo>
                      <a:pt x="800" y="16"/>
                      <a:pt x="800" y="16"/>
                      <a:pt x="800" y="16"/>
                    </a:cubicBezTo>
                    <a:cubicBezTo>
                      <a:pt x="833" y="13"/>
                      <a:pt x="833" y="13"/>
                      <a:pt x="833" y="13"/>
                    </a:cubicBezTo>
                    <a:cubicBezTo>
                      <a:pt x="871" y="10"/>
                      <a:pt x="871" y="10"/>
                      <a:pt x="871" y="10"/>
                    </a:cubicBezTo>
                    <a:cubicBezTo>
                      <a:pt x="918" y="64"/>
                      <a:pt x="918" y="64"/>
                      <a:pt x="918" y="64"/>
                    </a:cubicBezTo>
                    <a:cubicBezTo>
                      <a:pt x="926" y="79"/>
                      <a:pt x="926" y="79"/>
                      <a:pt x="926" y="79"/>
                    </a:cubicBezTo>
                    <a:cubicBezTo>
                      <a:pt x="947" y="107"/>
                      <a:pt x="947" y="107"/>
                      <a:pt x="947" y="107"/>
                    </a:cubicBezTo>
                    <a:cubicBezTo>
                      <a:pt x="951" y="116"/>
                      <a:pt x="951" y="116"/>
                      <a:pt x="951" y="116"/>
                    </a:cubicBezTo>
                    <a:cubicBezTo>
                      <a:pt x="957" y="129"/>
                      <a:pt x="957" y="129"/>
                      <a:pt x="957" y="129"/>
                    </a:cubicBezTo>
                    <a:cubicBezTo>
                      <a:pt x="957" y="167"/>
                      <a:pt x="957" y="167"/>
                      <a:pt x="957" y="167"/>
                    </a:cubicBezTo>
                    <a:cubicBezTo>
                      <a:pt x="961" y="188"/>
                      <a:pt x="961" y="188"/>
                      <a:pt x="961" y="188"/>
                    </a:cubicBezTo>
                    <a:cubicBezTo>
                      <a:pt x="969" y="211"/>
                      <a:pt x="969" y="211"/>
                      <a:pt x="969" y="211"/>
                    </a:cubicBezTo>
                    <a:cubicBezTo>
                      <a:pt x="993" y="250"/>
                      <a:pt x="993" y="250"/>
                      <a:pt x="993" y="250"/>
                    </a:cubicBezTo>
                    <a:cubicBezTo>
                      <a:pt x="991" y="264"/>
                      <a:pt x="991" y="264"/>
                      <a:pt x="991" y="264"/>
                    </a:cubicBezTo>
                    <a:cubicBezTo>
                      <a:pt x="993" y="287"/>
                      <a:pt x="993" y="287"/>
                      <a:pt x="993" y="287"/>
                    </a:cubicBezTo>
                    <a:cubicBezTo>
                      <a:pt x="996" y="302"/>
                      <a:pt x="996" y="302"/>
                      <a:pt x="996" y="302"/>
                    </a:cubicBezTo>
                    <a:cubicBezTo>
                      <a:pt x="999" y="328"/>
                      <a:pt x="999" y="328"/>
                      <a:pt x="999" y="328"/>
                    </a:cubicBezTo>
                    <a:cubicBezTo>
                      <a:pt x="1007" y="355"/>
                      <a:pt x="1007" y="355"/>
                      <a:pt x="1007" y="355"/>
                    </a:cubicBezTo>
                    <a:cubicBezTo>
                      <a:pt x="1019" y="382"/>
                      <a:pt x="1019" y="382"/>
                      <a:pt x="1019" y="382"/>
                    </a:cubicBezTo>
                    <a:cubicBezTo>
                      <a:pt x="1021" y="429"/>
                      <a:pt x="1021" y="429"/>
                      <a:pt x="1021" y="429"/>
                    </a:cubicBezTo>
                    <a:cubicBezTo>
                      <a:pt x="1023" y="465"/>
                      <a:pt x="1023" y="465"/>
                      <a:pt x="1023" y="465"/>
                    </a:cubicBezTo>
                    <a:cubicBezTo>
                      <a:pt x="1020" y="487"/>
                      <a:pt x="1020" y="487"/>
                      <a:pt x="1020" y="487"/>
                    </a:cubicBezTo>
                    <a:cubicBezTo>
                      <a:pt x="1018" y="510"/>
                      <a:pt x="1018" y="510"/>
                      <a:pt x="1018" y="510"/>
                    </a:cubicBezTo>
                    <a:cubicBezTo>
                      <a:pt x="1018" y="512"/>
                      <a:pt x="1018" y="512"/>
                      <a:pt x="1018" y="512"/>
                    </a:cubicBezTo>
                    <a:cubicBezTo>
                      <a:pt x="1022" y="511"/>
                      <a:pt x="1022" y="511"/>
                      <a:pt x="1022" y="511"/>
                    </a:cubicBezTo>
                    <a:cubicBezTo>
                      <a:pt x="1025" y="518"/>
                      <a:pt x="1025" y="518"/>
                      <a:pt x="1025" y="518"/>
                    </a:cubicBezTo>
                    <a:cubicBezTo>
                      <a:pt x="1021" y="541"/>
                      <a:pt x="1021" y="541"/>
                      <a:pt x="1021" y="541"/>
                    </a:cubicBezTo>
                    <a:cubicBezTo>
                      <a:pt x="1023" y="550"/>
                      <a:pt x="1023" y="550"/>
                      <a:pt x="1023" y="550"/>
                    </a:cubicBezTo>
                    <a:cubicBezTo>
                      <a:pt x="1030" y="565"/>
                      <a:pt x="1030" y="565"/>
                      <a:pt x="1030" y="565"/>
                    </a:cubicBezTo>
                    <a:cubicBezTo>
                      <a:pt x="1037" y="578"/>
                      <a:pt x="1037" y="578"/>
                      <a:pt x="1037" y="578"/>
                    </a:cubicBezTo>
                    <a:cubicBezTo>
                      <a:pt x="1042" y="585"/>
                      <a:pt x="1042" y="585"/>
                      <a:pt x="1042" y="585"/>
                    </a:cubicBezTo>
                    <a:cubicBezTo>
                      <a:pt x="1054" y="589"/>
                      <a:pt x="1054" y="589"/>
                      <a:pt x="1054" y="589"/>
                    </a:cubicBezTo>
                    <a:cubicBezTo>
                      <a:pt x="1057" y="597"/>
                      <a:pt x="1057" y="597"/>
                      <a:pt x="1057" y="597"/>
                    </a:cubicBezTo>
                    <a:cubicBezTo>
                      <a:pt x="1089" y="609"/>
                      <a:pt x="1089" y="609"/>
                      <a:pt x="1089" y="609"/>
                    </a:cubicBezTo>
                    <a:cubicBezTo>
                      <a:pt x="1088" y="627"/>
                      <a:pt x="1088" y="627"/>
                      <a:pt x="1088" y="627"/>
                    </a:cubicBezTo>
                    <a:cubicBezTo>
                      <a:pt x="1121" y="681"/>
                      <a:pt x="1121" y="681"/>
                      <a:pt x="1121" y="681"/>
                    </a:cubicBezTo>
                    <a:cubicBezTo>
                      <a:pt x="1115" y="745"/>
                      <a:pt x="1115" y="745"/>
                      <a:pt x="1115" y="745"/>
                    </a:cubicBezTo>
                    <a:cubicBezTo>
                      <a:pt x="1102" y="745"/>
                      <a:pt x="1102" y="745"/>
                      <a:pt x="1102" y="745"/>
                    </a:cubicBezTo>
                    <a:cubicBezTo>
                      <a:pt x="1101" y="755"/>
                      <a:pt x="1101" y="755"/>
                      <a:pt x="1101" y="755"/>
                    </a:cubicBezTo>
                    <a:cubicBezTo>
                      <a:pt x="1093" y="756"/>
                      <a:pt x="1093" y="756"/>
                      <a:pt x="1093" y="756"/>
                    </a:cubicBezTo>
                    <a:cubicBezTo>
                      <a:pt x="1096" y="773"/>
                      <a:pt x="1096" y="773"/>
                      <a:pt x="1096" y="773"/>
                    </a:cubicBezTo>
                    <a:cubicBezTo>
                      <a:pt x="1113" y="783"/>
                      <a:pt x="1113" y="783"/>
                      <a:pt x="1113" y="783"/>
                    </a:cubicBezTo>
                    <a:cubicBezTo>
                      <a:pt x="1112" y="799"/>
                      <a:pt x="1112" y="799"/>
                      <a:pt x="1112" y="799"/>
                    </a:cubicBezTo>
                    <a:cubicBezTo>
                      <a:pt x="1106" y="806"/>
                      <a:pt x="1106" y="806"/>
                      <a:pt x="1106" y="806"/>
                    </a:cubicBezTo>
                    <a:cubicBezTo>
                      <a:pt x="1088" y="805"/>
                      <a:pt x="1088" y="805"/>
                      <a:pt x="1088" y="805"/>
                    </a:cubicBezTo>
                    <a:cubicBezTo>
                      <a:pt x="1076" y="815"/>
                      <a:pt x="1076" y="815"/>
                      <a:pt x="1076" y="815"/>
                    </a:cubicBezTo>
                    <a:cubicBezTo>
                      <a:pt x="1076" y="815"/>
                      <a:pt x="1061" y="809"/>
                      <a:pt x="1058" y="808"/>
                    </a:cubicBezTo>
                    <a:cubicBezTo>
                      <a:pt x="1056" y="806"/>
                      <a:pt x="1042" y="806"/>
                      <a:pt x="1042" y="806"/>
                    </a:cubicBezTo>
                    <a:cubicBezTo>
                      <a:pt x="1041" y="805"/>
                      <a:pt x="1038" y="804"/>
                      <a:pt x="1033" y="805"/>
                    </a:cubicBezTo>
                    <a:cubicBezTo>
                      <a:pt x="1021" y="805"/>
                      <a:pt x="1011" y="799"/>
                      <a:pt x="1010" y="799"/>
                    </a:cubicBezTo>
                    <a:cubicBezTo>
                      <a:pt x="1014" y="791"/>
                      <a:pt x="990" y="793"/>
                      <a:pt x="981" y="793"/>
                    </a:cubicBezTo>
                    <a:cubicBezTo>
                      <a:pt x="965" y="796"/>
                      <a:pt x="942" y="799"/>
                      <a:pt x="936" y="780"/>
                    </a:cubicBezTo>
                    <a:cubicBezTo>
                      <a:pt x="931" y="767"/>
                      <a:pt x="924" y="772"/>
                      <a:pt x="917" y="778"/>
                    </a:cubicBezTo>
                    <a:cubicBezTo>
                      <a:pt x="921" y="786"/>
                      <a:pt x="920" y="805"/>
                      <a:pt x="911" y="802"/>
                    </a:cubicBezTo>
                    <a:cubicBezTo>
                      <a:pt x="911" y="796"/>
                      <a:pt x="891" y="806"/>
                      <a:pt x="882" y="808"/>
                    </a:cubicBezTo>
                    <a:cubicBezTo>
                      <a:pt x="874" y="801"/>
                      <a:pt x="871" y="787"/>
                      <a:pt x="860" y="787"/>
                    </a:cubicBezTo>
                    <a:cubicBezTo>
                      <a:pt x="856" y="772"/>
                      <a:pt x="835" y="785"/>
                      <a:pt x="843" y="793"/>
                    </a:cubicBezTo>
                    <a:cubicBezTo>
                      <a:pt x="840" y="802"/>
                      <a:pt x="840" y="811"/>
                      <a:pt x="840" y="821"/>
                    </a:cubicBezTo>
                    <a:cubicBezTo>
                      <a:pt x="832" y="823"/>
                      <a:pt x="829" y="843"/>
                      <a:pt x="825" y="827"/>
                    </a:cubicBezTo>
                    <a:cubicBezTo>
                      <a:pt x="818" y="818"/>
                      <a:pt x="807" y="846"/>
                      <a:pt x="792" y="840"/>
                    </a:cubicBezTo>
                    <a:cubicBezTo>
                      <a:pt x="781" y="833"/>
                      <a:pt x="795" y="820"/>
                      <a:pt x="784" y="816"/>
                    </a:cubicBezTo>
                    <a:cubicBezTo>
                      <a:pt x="775" y="821"/>
                      <a:pt x="768" y="811"/>
                      <a:pt x="765" y="824"/>
                    </a:cubicBezTo>
                    <a:cubicBezTo>
                      <a:pt x="752" y="815"/>
                      <a:pt x="748" y="828"/>
                      <a:pt x="743" y="838"/>
                    </a:cubicBezTo>
                    <a:cubicBezTo>
                      <a:pt x="725" y="837"/>
                      <a:pt x="740" y="819"/>
                      <a:pt x="731" y="812"/>
                    </a:cubicBezTo>
                    <a:cubicBezTo>
                      <a:pt x="721" y="799"/>
                      <a:pt x="725" y="811"/>
                      <a:pt x="717" y="812"/>
                    </a:cubicBezTo>
                    <a:cubicBezTo>
                      <a:pt x="706" y="825"/>
                      <a:pt x="709" y="826"/>
                      <a:pt x="698" y="837"/>
                    </a:cubicBezTo>
                    <a:cubicBezTo>
                      <a:pt x="696" y="851"/>
                      <a:pt x="691" y="867"/>
                      <a:pt x="692" y="880"/>
                    </a:cubicBezTo>
                    <a:cubicBezTo>
                      <a:pt x="689" y="886"/>
                      <a:pt x="675" y="885"/>
                      <a:pt x="671" y="896"/>
                    </a:cubicBezTo>
                    <a:cubicBezTo>
                      <a:pt x="662" y="904"/>
                      <a:pt x="662" y="913"/>
                      <a:pt x="655" y="911"/>
                    </a:cubicBezTo>
                    <a:cubicBezTo>
                      <a:pt x="651" y="902"/>
                      <a:pt x="640" y="909"/>
                      <a:pt x="633" y="907"/>
                    </a:cubicBezTo>
                    <a:cubicBezTo>
                      <a:pt x="628" y="916"/>
                      <a:pt x="606" y="916"/>
                      <a:pt x="608" y="929"/>
                    </a:cubicBezTo>
                    <a:cubicBezTo>
                      <a:pt x="602" y="923"/>
                      <a:pt x="590" y="924"/>
                      <a:pt x="589" y="935"/>
                    </a:cubicBezTo>
                    <a:cubicBezTo>
                      <a:pt x="579" y="931"/>
                      <a:pt x="600" y="919"/>
                      <a:pt x="590" y="908"/>
                    </a:cubicBezTo>
                    <a:cubicBezTo>
                      <a:pt x="590" y="895"/>
                      <a:pt x="575" y="893"/>
                      <a:pt x="565" y="903"/>
                    </a:cubicBezTo>
                    <a:cubicBezTo>
                      <a:pt x="561" y="912"/>
                      <a:pt x="548" y="917"/>
                      <a:pt x="540" y="917"/>
                    </a:cubicBezTo>
                    <a:cubicBezTo>
                      <a:pt x="537" y="915"/>
                      <a:pt x="527" y="920"/>
                      <a:pt x="523" y="912"/>
                    </a:cubicBezTo>
                    <a:cubicBezTo>
                      <a:pt x="513" y="904"/>
                      <a:pt x="511" y="921"/>
                      <a:pt x="515" y="927"/>
                    </a:cubicBezTo>
                    <a:cubicBezTo>
                      <a:pt x="514" y="931"/>
                      <a:pt x="516" y="945"/>
                      <a:pt x="523" y="948"/>
                    </a:cubicBezTo>
                    <a:close/>
                  </a:path>
                </a:pathLst>
              </a:custGeom>
              <a:solidFill>
                <a:srgbClr val="0000B4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2" name="Freeform 7">
                <a:extLst>
                  <a:ext uri="{FF2B5EF4-FFF2-40B4-BE49-F238E27FC236}">
                    <a16:creationId xmlns:a16="http://schemas.microsoft.com/office/drawing/2014/main" id="{E97F9481-9820-46F1-BC0E-F3D940126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2290" y="4605340"/>
                <a:ext cx="1517651" cy="1550988"/>
              </a:xfrm>
              <a:custGeom>
                <a:avLst/>
                <a:gdLst>
                  <a:gd name="T0" fmla="*/ 418 w 905"/>
                  <a:gd name="T1" fmla="*/ 161 h 927"/>
                  <a:gd name="T2" fmla="*/ 437 w 905"/>
                  <a:gd name="T3" fmla="*/ 187 h 927"/>
                  <a:gd name="T4" fmla="*/ 516 w 905"/>
                  <a:gd name="T5" fmla="*/ 158 h 927"/>
                  <a:gd name="T6" fmla="*/ 610 w 905"/>
                  <a:gd name="T7" fmla="*/ 109 h 927"/>
                  <a:gd name="T8" fmla="*/ 659 w 905"/>
                  <a:gd name="T9" fmla="*/ 116 h 927"/>
                  <a:gd name="T10" fmla="*/ 703 w 905"/>
                  <a:gd name="T11" fmla="*/ 83 h 927"/>
                  <a:gd name="T12" fmla="*/ 726 w 905"/>
                  <a:gd name="T13" fmla="*/ 35 h 927"/>
                  <a:gd name="T14" fmla="*/ 840 w 905"/>
                  <a:gd name="T15" fmla="*/ 3 h 927"/>
                  <a:gd name="T16" fmla="*/ 904 w 905"/>
                  <a:gd name="T17" fmla="*/ 66 h 927"/>
                  <a:gd name="T18" fmla="*/ 865 w 905"/>
                  <a:gd name="T19" fmla="*/ 136 h 927"/>
                  <a:gd name="T20" fmla="*/ 879 w 905"/>
                  <a:gd name="T21" fmla="*/ 227 h 927"/>
                  <a:gd name="T22" fmla="*/ 870 w 905"/>
                  <a:gd name="T23" fmla="*/ 287 h 927"/>
                  <a:gd name="T24" fmla="*/ 837 w 905"/>
                  <a:gd name="T25" fmla="*/ 331 h 927"/>
                  <a:gd name="T26" fmla="*/ 766 w 905"/>
                  <a:gd name="T27" fmla="*/ 353 h 927"/>
                  <a:gd name="T28" fmla="*/ 726 w 905"/>
                  <a:gd name="T29" fmla="*/ 408 h 927"/>
                  <a:gd name="T30" fmla="*/ 731 w 905"/>
                  <a:gd name="T31" fmla="*/ 470 h 927"/>
                  <a:gd name="T32" fmla="*/ 735 w 905"/>
                  <a:gd name="T33" fmla="*/ 557 h 927"/>
                  <a:gd name="T34" fmla="*/ 793 w 905"/>
                  <a:gd name="T35" fmla="*/ 591 h 927"/>
                  <a:gd name="T36" fmla="*/ 772 w 905"/>
                  <a:gd name="T37" fmla="*/ 657 h 927"/>
                  <a:gd name="T38" fmla="*/ 796 w 905"/>
                  <a:gd name="T39" fmla="*/ 712 h 927"/>
                  <a:gd name="T40" fmla="*/ 777 w 905"/>
                  <a:gd name="T41" fmla="*/ 822 h 927"/>
                  <a:gd name="T42" fmla="*/ 794 w 905"/>
                  <a:gd name="T43" fmla="*/ 897 h 927"/>
                  <a:gd name="T44" fmla="*/ 653 w 905"/>
                  <a:gd name="T45" fmla="*/ 917 h 927"/>
                  <a:gd name="T46" fmla="*/ 597 w 905"/>
                  <a:gd name="T47" fmla="*/ 888 h 927"/>
                  <a:gd name="T48" fmla="*/ 569 w 905"/>
                  <a:gd name="T49" fmla="*/ 812 h 927"/>
                  <a:gd name="T50" fmla="*/ 556 w 905"/>
                  <a:gd name="T51" fmla="*/ 792 h 927"/>
                  <a:gd name="T52" fmla="*/ 524 w 905"/>
                  <a:gd name="T53" fmla="*/ 737 h 927"/>
                  <a:gd name="T54" fmla="*/ 487 w 905"/>
                  <a:gd name="T55" fmla="*/ 679 h 927"/>
                  <a:gd name="T56" fmla="*/ 417 w 905"/>
                  <a:gd name="T57" fmla="*/ 631 h 927"/>
                  <a:gd name="T58" fmla="*/ 391 w 905"/>
                  <a:gd name="T59" fmla="*/ 593 h 927"/>
                  <a:gd name="T60" fmla="*/ 392 w 905"/>
                  <a:gd name="T61" fmla="*/ 498 h 927"/>
                  <a:gd name="T62" fmla="*/ 330 w 905"/>
                  <a:gd name="T63" fmla="*/ 504 h 927"/>
                  <a:gd name="T64" fmla="*/ 264 w 905"/>
                  <a:gd name="T65" fmla="*/ 486 h 927"/>
                  <a:gd name="T66" fmla="*/ 181 w 905"/>
                  <a:gd name="T67" fmla="*/ 426 h 927"/>
                  <a:gd name="T68" fmla="*/ 123 w 905"/>
                  <a:gd name="T69" fmla="*/ 383 h 927"/>
                  <a:gd name="T70" fmla="*/ 83 w 905"/>
                  <a:gd name="T71" fmla="*/ 409 h 927"/>
                  <a:gd name="T72" fmla="*/ 0 w 905"/>
                  <a:gd name="T73" fmla="*/ 350 h 927"/>
                  <a:gd name="T74" fmla="*/ 48 w 905"/>
                  <a:gd name="T75" fmla="*/ 257 h 927"/>
                  <a:gd name="T76" fmla="*/ 85 w 905"/>
                  <a:gd name="T77" fmla="*/ 209 h 927"/>
                  <a:gd name="T78" fmla="*/ 138 w 905"/>
                  <a:gd name="T79" fmla="*/ 174 h 927"/>
                  <a:gd name="T80" fmla="*/ 202 w 905"/>
                  <a:gd name="T81" fmla="*/ 129 h 927"/>
                  <a:gd name="T82" fmla="*/ 216 w 905"/>
                  <a:gd name="T83" fmla="*/ 81 h 927"/>
                  <a:gd name="T84" fmla="*/ 282 w 905"/>
                  <a:gd name="T85" fmla="*/ 71 h 927"/>
                  <a:gd name="T86" fmla="*/ 373 w 905"/>
                  <a:gd name="T87" fmla="*/ 82 h 927"/>
                  <a:gd name="T88" fmla="*/ 415 w 905"/>
                  <a:gd name="T89" fmla="*/ 86 h 927"/>
                  <a:gd name="T90" fmla="*/ 411 w 905"/>
                  <a:gd name="T91" fmla="*/ 101 h 927"/>
                  <a:gd name="T92" fmla="*/ 406 w 905"/>
                  <a:gd name="T93" fmla="*/ 135 h 927"/>
                  <a:gd name="T94" fmla="*/ 403 w 905"/>
                  <a:gd name="T95" fmla="*/ 190 h 927"/>
                  <a:gd name="T96" fmla="*/ 416 w 905"/>
                  <a:gd name="T97" fmla="*/ 189 h 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05" h="927">
                    <a:moveTo>
                      <a:pt x="411" y="170"/>
                    </a:moveTo>
                    <a:cubicBezTo>
                      <a:pt x="404" y="165"/>
                      <a:pt x="404" y="165"/>
                      <a:pt x="404" y="165"/>
                    </a:cubicBezTo>
                    <a:cubicBezTo>
                      <a:pt x="411" y="144"/>
                      <a:pt x="411" y="144"/>
                      <a:pt x="411" y="144"/>
                    </a:cubicBezTo>
                    <a:cubicBezTo>
                      <a:pt x="418" y="161"/>
                      <a:pt x="418" y="161"/>
                      <a:pt x="418" y="161"/>
                    </a:cubicBezTo>
                    <a:cubicBezTo>
                      <a:pt x="425" y="173"/>
                      <a:pt x="425" y="173"/>
                      <a:pt x="425" y="173"/>
                    </a:cubicBezTo>
                    <a:cubicBezTo>
                      <a:pt x="440" y="171"/>
                      <a:pt x="440" y="171"/>
                      <a:pt x="440" y="171"/>
                    </a:cubicBezTo>
                    <a:cubicBezTo>
                      <a:pt x="440" y="171"/>
                      <a:pt x="440" y="171"/>
                      <a:pt x="439" y="175"/>
                    </a:cubicBezTo>
                    <a:cubicBezTo>
                      <a:pt x="438" y="180"/>
                      <a:pt x="437" y="187"/>
                      <a:pt x="437" y="187"/>
                    </a:cubicBezTo>
                    <a:cubicBezTo>
                      <a:pt x="458" y="183"/>
                      <a:pt x="458" y="183"/>
                      <a:pt x="458" y="183"/>
                    </a:cubicBezTo>
                    <a:cubicBezTo>
                      <a:pt x="458" y="183"/>
                      <a:pt x="476" y="183"/>
                      <a:pt x="483" y="183"/>
                    </a:cubicBezTo>
                    <a:cubicBezTo>
                      <a:pt x="490" y="183"/>
                      <a:pt x="502" y="181"/>
                      <a:pt x="505" y="178"/>
                    </a:cubicBezTo>
                    <a:cubicBezTo>
                      <a:pt x="507" y="174"/>
                      <a:pt x="516" y="158"/>
                      <a:pt x="516" y="158"/>
                    </a:cubicBezTo>
                    <a:cubicBezTo>
                      <a:pt x="516" y="158"/>
                      <a:pt x="537" y="148"/>
                      <a:pt x="543" y="146"/>
                    </a:cubicBezTo>
                    <a:cubicBezTo>
                      <a:pt x="549" y="143"/>
                      <a:pt x="576" y="148"/>
                      <a:pt x="576" y="148"/>
                    </a:cubicBezTo>
                    <a:cubicBezTo>
                      <a:pt x="576" y="148"/>
                      <a:pt x="591" y="145"/>
                      <a:pt x="593" y="140"/>
                    </a:cubicBezTo>
                    <a:cubicBezTo>
                      <a:pt x="594" y="135"/>
                      <a:pt x="610" y="109"/>
                      <a:pt x="610" y="109"/>
                    </a:cubicBezTo>
                    <a:cubicBezTo>
                      <a:pt x="621" y="109"/>
                      <a:pt x="621" y="109"/>
                      <a:pt x="621" y="109"/>
                    </a:cubicBezTo>
                    <a:cubicBezTo>
                      <a:pt x="621" y="109"/>
                      <a:pt x="622" y="127"/>
                      <a:pt x="628" y="128"/>
                    </a:cubicBezTo>
                    <a:cubicBezTo>
                      <a:pt x="634" y="129"/>
                      <a:pt x="644" y="131"/>
                      <a:pt x="648" y="130"/>
                    </a:cubicBezTo>
                    <a:cubicBezTo>
                      <a:pt x="653" y="129"/>
                      <a:pt x="660" y="120"/>
                      <a:pt x="659" y="116"/>
                    </a:cubicBezTo>
                    <a:cubicBezTo>
                      <a:pt x="658" y="112"/>
                      <a:pt x="651" y="96"/>
                      <a:pt x="651" y="96"/>
                    </a:cubicBezTo>
                    <a:cubicBezTo>
                      <a:pt x="651" y="96"/>
                      <a:pt x="663" y="87"/>
                      <a:pt x="669" y="85"/>
                    </a:cubicBezTo>
                    <a:cubicBezTo>
                      <a:pt x="675" y="83"/>
                      <a:pt x="682" y="85"/>
                      <a:pt x="694" y="81"/>
                    </a:cubicBezTo>
                    <a:cubicBezTo>
                      <a:pt x="706" y="78"/>
                      <a:pt x="694" y="81"/>
                      <a:pt x="703" y="83"/>
                    </a:cubicBezTo>
                    <a:cubicBezTo>
                      <a:pt x="713" y="84"/>
                      <a:pt x="714" y="77"/>
                      <a:pt x="714" y="72"/>
                    </a:cubicBezTo>
                    <a:cubicBezTo>
                      <a:pt x="714" y="67"/>
                      <a:pt x="720" y="61"/>
                      <a:pt x="716" y="55"/>
                    </a:cubicBezTo>
                    <a:cubicBezTo>
                      <a:pt x="713" y="49"/>
                      <a:pt x="715" y="46"/>
                      <a:pt x="715" y="41"/>
                    </a:cubicBezTo>
                    <a:cubicBezTo>
                      <a:pt x="715" y="36"/>
                      <a:pt x="726" y="35"/>
                      <a:pt x="726" y="35"/>
                    </a:cubicBezTo>
                    <a:cubicBezTo>
                      <a:pt x="733" y="23"/>
                      <a:pt x="741" y="48"/>
                      <a:pt x="748" y="32"/>
                    </a:cubicBezTo>
                    <a:cubicBezTo>
                      <a:pt x="756" y="18"/>
                      <a:pt x="777" y="27"/>
                      <a:pt x="783" y="13"/>
                    </a:cubicBezTo>
                    <a:cubicBezTo>
                      <a:pt x="784" y="2"/>
                      <a:pt x="800" y="0"/>
                      <a:pt x="808" y="4"/>
                    </a:cubicBezTo>
                    <a:cubicBezTo>
                      <a:pt x="813" y="2"/>
                      <a:pt x="830" y="1"/>
                      <a:pt x="840" y="3"/>
                    </a:cubicBezTo>
                    <a:cubicBezTo>
                      <a:pt x="851" y="9"/>
                      <a:pt x="858" y="14"/>
                      <a:pt x="856" y="26"/>
                    </a:cubicBezTo>
                    <a:cubicBezTo>
                      <a:pt x="857" y="34"/>
                      <a:pt x="872" y="35"/>
                      <a:pt x="882" y="38"/>
                    </a:cubicBezTo>
                    <a:cubicBezTo>
                      <a:pt x="896" y="44"/>
                      <a:pt x="878" y="56"/>
                      <a:pt x="889" y="62"/>
                    </a:cubicBezTo>
                    <a:cubicBezTo>
                      <a:pt x="899" y="60"/>
                      <a:pt x="904" y="63"/>
                      <a:pt x="904" y="66"/>
                    </a:cubicBezTo>
                    <a:cubicBezTo>
                      <a:pt x="905" y="70"/>
                      <a:pt x="900" y="73"/>
                      <a:pt x="892" y="74"/>
                    </a:cubicBezTo>
                    <a:cubicBezTo>
                      <a:pt x="886" y="84"/>
                      <a:pt x="898" y="88"/>
                      <a:pt x="890" y="92"/>
                    </a:cubicBezTo>
                    <a:cubicBezTo>
                      <a:pt x="882" y="99"/>
                      <a:pt x="875" y="100"/>
                      <a:pt x="878" y="111"/>
                    </a:cubicBezTo>
                    <a:cubicBezTo>
                      <a:pt x="884" y="125"/>
                      <a:pt x="875" y="129"/>
                      <a:pt x="865" y="136"/>
                    </a:cubicBezTo>
                    <a:cubicBezTo>
                      <a:pt x="864" y="151"/>
                      <a:pt x="856" y="152"/>
                      <a:pt x="863" y="164"/>
                    </a:cubicBezTo>
                    <a:cubicBezTo>
                      <a:pt x="861" y="174"/>
                      <a:pt x="886" y="166"/>
                      <a:pt x="868" y="182"/>
                    </a:cubicBezTo>
                    <a:cubicBezTo>
                      <a:pt x="861" y="199"/>
                      <a:pt x="881" y="196"/>
                      <a:pt x="880" y="205"/>
                    </a:cubicBezTo>
                    <a:cubicBezTo>
                      <a:pt x="876" y="214"/>
                      <a:pt x="878" y="216"/>
                      <a:pt x="879" y="227"/>
                    </a:cubicBezTo>
                    <a:cubicBezTo>
                      <a:pt x="869" y="226"/>
                      <a:pt x="871" y="235"/>
                      <a:pt x="871" y="241"/>
                    </a:cubicBezTo>
                    <a:cubicBezTo>
                      <a:pt x="867" y="247"/>
                      <a:pt x="856" y="245"/>
                      <a:pt x="859" y="259"/>
                    </a:cubicBezTo>
                    <a:cubicBezTo>
                      <a:pt x="862" y="262"/>
                      <a:pt x="861" y="264"/>
                      <a:pt x="869" y="274"/>
                    </a:cubicBezTo>
                    <a:cubicBezTo>
                      <a:pt x="887" y="278"/>
                      <a:pt x="862" y="274"/>
                      <a:pt x="870" y="287"/>
                    </a:cubicBezTo>
                    <a:cubicBezTo>
                      <a:pt x="880" y="301"/>
                      <a:pt x="864" y="295"/>
                      <a:pt x="869" y="303"/>
                    </a:cubicBezTo>
                    <a:cubicBezTo>
                      <a:pt x="871" y="313"/>
                      <a:pt x="864" y="318"/>
                      <a:pt x="858" y="323"/>
                    </a:cubicBezTo>
                    <a:cubicBezTo>
                      <a:pt x="857" y="325"/>
                      <a:pt x="855" y="328"/>
                      <a:pt x="853" y="331"/>
                    </a:cubicBezTo>
                    <a:cubicBezTo>
                      <a:pt x="849" y="334"/>
                      <a:pt x="844" y="336"/>
                      <a:pt x="837" y="331"/>
                    </a:cubicBezTo>
                    <a:cubicBezTo>
                      <a:pt x="830" y="332"/>
                      <a:pt x="828" y="338"/>
                      <a:pt x="819" y="334"/>
                    </a:cubicBezTo>
                    <a:cubicBezTo>
                      <a:pt x="816" y="338"/>
                      <a:pt x="810" y="336"/>
                      <a:pt x="800" y="332"/>
                    </a:cubicBezTo>
                    <a:cubicBezTo>
                      <a:pt x="789" y="331"/>
                      <a:pt x="783" y="343"/>
                      <a:pt x="787" y="354"/>
                    </a:cubicBezTo>
                    <a:cubicBezTo>
                      <a:pt x="782" y="356"/>
                      <a:pt x="777" y="351"/>
                      <a:pt x="766" y="353"/>
                    </a:cubicBezTo>
                    <a:cubicBezTo>
                      <a:pt x="756" y="350"/>
                      <a:pt x="747" y="359"/>
                      <a:pt x="742" y="362"/>
                    </a:cubicBezTo>
                    <a:cubicBezTo>
                      <a:pt x="729" y="371"/>
                      <a:pt x="726" y="343"/>
                      <a:pt x="718" y="357"/>
                    </a:cubicBezTo>
                    <a:cubicBezTo>
                      <a:pt x="711" y="365"/>
                      <a:pt x="702" y="377"/>
                      <a:pt x="720" y="382"/>
                    </a:cubicBezTo>
                    <a:cubicBezTo>
                      <a:pt x="723" y="393"/>
                      <a:pt x="723" y="397"/>
                      <a:pt x="726" y="408"/>
                    </a:cubicBezTo>
                    <a:cubicBezTo>
                      <a:pt x="725" y="422"/>
                      <a:pt x="702" y="424"/>
                      <a:pt x="707" y="441"/>
                    </a:cubicBezTo>
                    <a:cubicBezTo>
                      <a:pt x="707" y="455"/>
                      <a:pt x="691" y="449"/>
                      <a:pt x="685" y="455"/>
                    </a:cubicBezTo>
                    <a:cubicBezTo>
                      <a:pt x="694" y="458"/>
                      <a:pt x="695" y="465"/>
                      <a:pt x="704" y="464"/>
                    </a:cubicBezTo>
                    <a:cubicBezTo>
                      <a:pt x="712" y="473"/>
                      <a:pt x="720" y="466"/>
                      <a:pt x="731" y="470"/>
                    </a:cubicBezTo>
                    <a:cubicBezTo>
                      <a:pt x="733" y="479"/>
                      <a:pt x="737" y="486"/>
                      <a:pt x="744" y="489"/>
                    </a:cubicBezTo>
                    <a:cubicBezTo>
                      <a:pt x="747" y="492"/>
                      <a:pt x="731" y="500"/>
                      <a:pt x="726" y="504"/>
                    </a:cubicBezTo>
                    <a:cubicBezTo>
                      <a:pt x="721" y="510"/>
                      <a:pt x="736" y="519"/>
                      <a:pt x="729" y="528"/>
                    </a:cubicBezTo>
                    <a:cubicBezTo>
                      <a:pt x="735" y="537"/>
                      <a:pt x="747" y="550"/>
                      <a:pt x="735" y="557"/>
                    </a:cubicBezTo>
                    <a:cubicBezTo>
                      <a:pt x="725" y="565"/>
                      <a:pt x="731" y="570"/>
                      <a:pt x="735" y="581"/>
                    </a:cubicBezTo>
                    <a:cubicBezTo>
                      <a:pt x="753" y="576"/>
                      <a:pt x="746" y="600"/>
                      <a:pt x="754" y="602"/>
                    </a:cubicBezTo>
                    <a:cubicBezTo>
                      <a:pt x="757" y="595"/>
                      <a:pt x="775" y="593"/>
                      <a:pt x="772" y="596"/>
                    </a:cubicBezTo>
                    <a:cubicBezTo>
                      <a:pt x="778" y="592"/>
                      <a:pt x="786" y="581"/>
                      <a:pt x="793" y="591"/>
                    </a:cubicBezTo>
                    <a:cubicBezTo>
                      <a:pt x="809" y="596"/>
                      <a:pt x="797" y="619"/>
                      <a:pt x="790" y="619"/>
                    </a:cubicBezTo>
                    <a:cubicBezTo>
                      <a:pt x="789" y="623"/>
                      <a:pt x="795" y="620"/>
                      <a:pt x="794" y="623"/>
                    </a:cubicBezTo>
                    <a:cubicBezTo>
                      <a:pt x="791" y="634"/>
                      <a:pt x="803" y="642"/>
                      <a:pt x="795" y="649"/>
                    </a:cubicBezTo>
                    <a:cubicBezTo>
                      <a:pt x="786" y="660"/>
                      <a:pt x="781" y="653"/>
                      <a:pt x="772" y="657"/>
                    </a:cubicBezTo>
                    <a:cubicBezTo>
                      <a:pt x="764" y="659"/>
                      <a:pt x="755" y="668"/>
                      <a:pt x="762" y="673"/>
                    </a:cubicBezTo>
                    <a:cubicBezTo>
                      <a:pt x="773" y="676"/>
                      <a:pt x="766" y="682"/>
                      <a:pt x="774" y="689"/>
                    </a:cubicBezTo>
                    <a:cubicBezTo>
                      <a:pt x="785" y="695"/>
                      <a:pt x="772" y="724"/>
                      <a:pt x="786" y="706"/>
                    </a:cubicBezTo>
                    <a:cubicBezTo>
                      <a:pt x="801" y="692"/>
                      <a:pt x="790" y="714"/>
                      <a:pt x="796" y="712"/>
                    </a:cubicBezTo>
                    <a:cubicBezTo>
                      <a:pt x="792" y="722"/>
                      <a:pt x="800" y="715"/>
                      <a:pt x="805" y="720"/>
                    </a:cubicBezTo>
                    <a:cubicBezTo>
                      <a:pt x="810" y="727"/>
                      <a:pt x="803" y="736"/>
                      <a:pt x="810" y="735"/>
                    </a:cubicBezTo>
                    <a:cubicBezTo>
                      <a:pt x="804" y="757"/>
                      <a:pt x="773" y="767"/>
                      <a:pt x="764" y="790"/>
                    </a:cubicBezTo>
                    <a:cubicBezTo>
                      <a:pt x="749" y="806"/>
                      <a:pt x="761" y="813"/>
                      <a:pt x="777" y="822"/>
                    </a:cubicBezTo>
                    <a:cubicBezTo>
                      <a:pt x="785" y="831"/>
                      <a:pt x="813" y="840"/>
                      <a:pt x="801" y="852"/>
                    </a:cubicBezTo>
                    <a:cubicBezTo>
                      <a:pt x="794" y="866"/>
                      <a:pt x="784" y="879"/>
                      <a:pt x="779" y="893"/>
                    </a:cubicBezTo>
                    <a:cubicBezTo>
                      <a:pt x="775" y="888"/>
                      <a:pt x="758" y="889"/>
                      <a:pt x="767" y="895"/>
                    </a:cubicBezTo>
                    <a:cubicBezTo>
                      <a:pt x="779" y="899"/>
                      <a:pt x="785" y="901"/>
                      <a:pt x="794" y="897"/>
                    </a:cubicBezTo>
                    <a:cubicBezTo>
                      <a:pt x="798" y="905"/>
                      <a:pt x="770" y="919"/>
                      <a:pt x="764" y="927"/>
                    </a:cubicBezTo>
                    <a:cubicBezTo>
                      <a:pt x="703" y="926"/>
                      <a:pt x="703" y="926"/>
                      <a:pt x="703" y="926"/>
                    </a:cubicBezTo>
                    <a:cubicBezTo>
                      <a:pt x="660" y="910"/>
                      <a:pt x="660" y="910"/>
                      <a:pt x="660" y="910"/>
                    </a:cubicBezTo>
                    <a:cubicBezTo>
                      <a:pt x="653" y="917"/>
                      <a:pt x="653" y="917"/>
                      <a:pt x="653" y="917"/>
                    </a:cubicBezTo>
                    <a:cubicBezTo>
                      <a:pt x="631" y="908"/>
                      <a:pt x="631" y="908"/>
                      <a:pt x="631" y="908"/>
                    </a:cubicBezTo>
                    <a:cubicBezTo>
                      <a:pt x="629" y="899"/>
                      <a:pt x="629" y="899"/>
                      <a:pt x="629" y="899"/>
                    </a:cubicBezTo>
                    <a:cubicBezTo>
                      <a:pt x="611" y="897"/>
                      <a:pt x="611" y="897"/>
                      <a:pt x="611" y="897"/>
                    </a:cubicBezTo>
                    <a:cubicBezTo>
                      <a:pt x="597" y="888"/>
                      <a:pt x="597" y="888"/>
                      <a:pt x="597" y="888"/>
                    </a:cubicBezTo>
                    <a:cubicBezTo>
                      <a:pt x="597" y="888"/>
                      <a:pt x="596" y="871"/>
                      <a:pt x="587" y="868"/>
                    </a:cubicBezTo>
                    <a:cubicBezTo>
                      <a:pt x="579" y="865"/>
                      <a:pt x="573" y="847"/>
                      <a:pt x="573" y="847"/>
                    </a:cubicBezTo>
                    <a:cubicBezTo>
                      <a:pt x="575" y="834"/>
                      <a:pt x="575" y="834"/>
                      <a:pt x="575" y="834"/>
                    </a:cubicBezTo>
                    <a:cubicBezTo>
                      <a:pt x="569" y="812"/>
                      <a:pt x="569" y="812"/>
                      <a:pt x="569" y="812"/>
                    </a:cubicBezTo>
                    <a:cubicBezTo>
                      <a:pt x="570" y="809"/>
                      <a:pt x="570" y="809"/>
                      <a:pt x="570" y="809"/>
                    </a:cubicBezTo>
                    <a:cubicBezTo>
                      <a:pt x="569" y="805"/>
                      <a:pt x="569" y="805"/>
                      <a:pt x="569" y="805"/>
                    </a:cubicBezTo>
                    <a:cubicBezTo>
                      <a:pt x="568" y="792"/>
                      <a:pt x="568" y="792"/>
                      <a:pt x="568" y="792"/>
                    </a:cubicBezTo>
                    <a:cubicBezTo>
                      <a:pt x="556" y="792"/>
                      <a:pt x="556" y="792"/>
                      <a:pt x="556" y="792"/>
                    </a:cubicBezTo>
                    <a:cubicBezTo>
                      <a:pt x="546" y="782"/>
                      <a:pt x="546" y="782"/>
                      <a:pt x="546" y="782"/>
                    </a:cubicBezTo>
                    <a:cubicBezTo>
                      <a:pt x="543" y="764"/>
                      <a:pt x="543" y="764"/>
                      <a:pt x="543" y="764"/>
                    </a:cubicBezTo>
                    <a:cubicBezTo>
                      <a:pt x="517" y="751"/>
                      <a:pt x="517" y="751"/>
                      <a:pt x="517" y="751"/>
                    </a:cubicBezTo>
                    <a:cubicBezTo>
                      <a:pt x="524" y="737"/>
                      <a:pt x="524" y="737"/>
                      <a:pt x="524" y="737"/>
                    </a:cubicBezTo>
                    <a:cubicBezTo>
                      <a:pt x="538" y="708"/>
                      <a:pt x="538" y="708"/>
                      <a:pt x="538" y="708"/>
                    </a:cubicBezTo>
                    <a:cubicBezTo>
                      <a:pt x="527" y="698"/>
                      <a:pt x="527" y="698"/>
                      <a:pt x="527" y="698"/>
                    </a:cubicBezTo>
                    <a:cubicBezTo>
                      <a:pt x="513" y="687"/>
                      <a:pt x="513" y="687"/>
                      <a:pt x="513" y="687"/>
                    </a:cubicBezTo>
                    <a:cubicBezTo>
                      <a:pt x="487" y="679"/>
                      <a:pt x="487" y="679"/>
                      <a:pt x="487" y="679"/>
                    </a:cubicBezTo>
                    <a:cubicBezTo>
                      <a:pt x="482" y="663"/>
                      <a:pt x="482" y="663"/>
                      <a:pt x="482" y="663"/>
                    </a:cubicBezTo>
                    <a:cubicBezTo>
                      <a:pt x="483" y="654"/>
                      <a:pt x="483" y="654"/>
                      <a:pt x="483" y="654"/>
                    </a:cubicBezTo>
                    <a:cubicBezTo>
                      <a:pt x="434" y="630"/>
                      <a:pt x="434" y="630"/>
                      <a:pt x="434" y="630"/>
                    </a:cubicBezTo>
                    <a:cubicBezTo>
                      <a:pt x="434" y="630"/>
                      <a:pt x="426" y="627"/>
                      <a:pt x="417" y="631"/>
                    </a:cubicBezTo>
                    <a:cubicBezTo>
                      <a:pt x="409" y="635"/>
                      <a:pt x="403" y="632"/>
                      <a:pt x="400" y="628"/>
                    </a:cubicBezTo>
                    <a:cubicBezTo>
                      <a:pt x="397" y="625"/>
                      <a:pt x="383" y="622"/>
                      <a:pt x="383" y="622"/>
                    </a:cubicBezTo>
                    <a:cubicBezTo>
                      <a:pt x="382" y="605"/>
                      <a:pt x="382" y="605"/>
                      <a:pt x="382" y="605"/>
                    </a:cubicBezTo>
                    <a:cubicBezTo>
                      <a:pt x="382" y="605"/>
                      <a:pt x="388" y="597"/>
                      <a:pt x="391" y="593"/>
                    </a:cubicBezTo>
                    <a:cubicBezTo>
                      <a:pt x="395" y="588"/>
                      <a:pt x="397" y="553"/>
                      <a:pt x="397" y="553"/>
                    </a:cubicBezTo>
                    <a:cubicBezTo>
                      <a:pt x="412" y="519"/>
                      <a:pt x="412" y="519"/>
                      <a:pt x="412" y="519"/>
                    </a:cubicBezTo>
                    <a:cubicBezTo>
                      <a:pt x="408" y="501"/>
                      <a:pt x="408" y="501"/>
                      <a:pt x="408" y="501"/>
                    </a:cubicBezTo>
                    <a:cubicBezTo>
                      <a:pt x="392" y="498"/>
                      <a:pt x="392" y="498"/>
                      <a:pt x="392" y="498"/>
                    </a:cubicBezTo>
                    <a:cubicBezTo>
                      <a:pt x="378" y="505"/>
                      <a:pt x="378" y="505"/>
                      <a:pt x="378" y="505"/>
                    </a:cubicBezTo>
                    <a:cubicBezTo>
                      <a:pt x="369" y="484"/>
                      <a:pt x="369" y="484"/>
                      <a:pt x="369" y="484"/>
                    </a:cubicBezTo>
                    <a:cubicBezTo>
                      <a:pt x="357" y="485"/>
                      <a:pt x="357" y="485"/>
                      <a:pt x="357" y="485"/>
                    </a:cubicBezTo>
                    <a:cubicBezTo>
                      <a:pt x="330" y="504"/>
                      <a:pt x="330" y="504"/>
                      <a:pt x="330" y="504"/>
                    </a:cubicBezTo>
                    <a:cubicBezTo>
                      <a:pt x="302" y="493"/>
                      <a:pt x="302" y="493"/>
                      <a:pt x="302" y="493"/>
                    </a:cubicBezTo>
                    <a:cubicBezTo>
                      <a:pt x="275" y="498"/>
                      <a:pt x="275" y="498"/>
                      <a:pt x="275" y="498"/>
                    </a:cubicBezTo>
                    <a:cubicBezTo>
                      <a:pt x="261" y="503"/>
                      <a:pt x="261" y="503"/>
                      <a:pt x="261" y="503"/>
                    </a:cubicBezTo>
                    <a:cubicBezTo>
                      <a:pt x="264" y="486"/>
                      <a:pt x="264" y="486"/>
                      <a:pt x="264" y="486"/>
                    </a:cubicBezTo>
                    <a:cubicBezTo>
                      <a:pt x="252" y="478"/>
                      <a:pt x="252" y="478"/>
                      <a:pt x="252" y="478"/>
                    </a:cubicBezTo>
                    <a:cubicBezTo>
                      <a:pt x="237" y="486"/>
                      <a:pt x="237" y="486"/>
                      <a:pt x="237" y="486"/>
                    </a:cubicBezTo>
                    <a:cubicBezTo>
                      <a:pt x="206" y="475"/>
                      <a:pt x="206" y="475"/>
                      <a:pt x="206" y="475"/>
                    </a:cubicBezTo>
                    <a:cubicBezTo>
                      <a:pt x="181" y="426"/>
                      <a:pt x="181" y="426"/>
                      <a:pt x="181" y="426"/>
                    </a:cubicBezTo>
                    <a:cubicBezTo>
                      <a:pt x="175" y="414"/>
                      <a:pt x="175" y="414"/>
                      <a:pt x="175" y="414"/>
                    </a:cubicBezTo>
                    <a:cubicBezTo>
                      <a:pt x="165" y="399"/>
                      <a:pt x="165" y="399"/>
                      <a:pt x="165" y="399"/>
                    </a:cubicBezTo>
                    <a:cubicBezTo>
                      <a:pt x="134" y="385"/>
                      <a:pt x="134" y="385"/>
                      <a:pt x="134" y="385"/>
                    </a:cubicBezTo>
                    <a:cubicBezTo>
                      <a:pt x="123" y="383"/>
                      <a:pt x="123" y="383"/>
                      <a:pt x="123" y="383"/>
                    </a:cubicBezTo>
                    <a:cubicBezTo>
                      <a:pt x="123" y="383"/>
                      <a:pt x="123" y="396"/>
                      <a:pt x="122" y="400"/>
                    </a:cubicBezTo>
                    <a:cubicBezTo>
                      <a:pt x="121" y="404"/>
                      <a:pt x="104" y="415"/>
                      <a:pt x="104" y="415"/>
                    </a:cubicBezTo>
                    <a:cubicBezTo>
                      <a:pt x="83" y="413"/>
                      <a:pt x="83" y="413"/>
                      <a:pt x="83" y="413"/>
                    </a:cubicBezTo>
                    <a:cubicBezTo>
                      <a:pt x="83" y="409"/>
                      <a:pt x="83" y="409"/>
                      <a:pt x="83" y="409"/>
                    </a:cubicBezTo>
                    <a:cubicBezTo>
                      <a:pt x="83" y="402"/>
                      <a:pt x="83" y="402"/>
                      <a:pt x="83" y="402"/>
                    </a:cubicBezTo>
                    <a:cubicBezTo>
                      <a:pt x="63" y="392"/>
                      <a:pt x="63" y="392"/>
                      <a:pt x="63" y="392"/>
                    </a:cubicBezTo>
                    <a:cubicBezTo>
                      <a:pt x="48" y="375"/>
                      <a:pt x="48" y="375"/>
                      <a:pt x="48" y="375"/>
                    </a:cubicBezTo>
                    <a:cubicBezTo>
                      <a:pt x="0" y="350"/>
                      <a:pt x="0" y="350"/>
                      <a:pt x="0" y="350"/>
                    </a:cubicBezTo>
                    <a:cubicBezTo>
                      <a:pt x="0" y="350"/>
                      <a:pt x="5" y="339"/>
                      <a:pt x="7" y="337"/>
                    </a:cubicBezTo>
                    <a:cubicBezTo>
                      <a:pt x="8" y="335"/>
                      <a:pt x="5" y="328"/>
                      <a:pt x="3" y="323"/>
                    </a:cubicBezTo>
                    <a:cubicBezTo>
                      <a:pt x="14" y="313"/>
                      <a:pt x="30" y="296"/>
                      <a:pt x="37" y="281"/>
                    </a:cubicBezTo>
                    <a:cubicBezTo>
                      <a:pt x="38" y="271"/>
                      <a:pt x="50" y="268"/>
                      <a:pt x="48" y="257"/>
                    </a:cubicBezTo>
                    <a:cubicBezTo>
                      <a:pt x="46" y="243"/>
                      <a:pt x="27" y="229"/>
                      <a:pt x="30" y="217"/>
                    </a:cubicBezTo>
                    <a:cubicBezTo>
                      <a:pt x="36" y="204"/>
                      <a:pt x="51" y="217"/>
                      <a:pt x="61" y="210"/>
                    </a:cubicBezTo>
                    <a:cubicBezTo>
                      <a:pt x="68" y="207"/>
                      <a:pt x="66" y="215"/>
                      <a:pt x="73" y="211"/>
                    </a:cubicBezTo>
                    <a:cubicBezTo>
                      <a:pt x="73" y="209"/>
                      <a:pt x="84" y="210"/>
                      <a:pt x="85" y="209"/>
                    </a:cubicBezTo>
                    <a:cubicBezTo>
                      <a:pt x="83" y="208"/>
                      <a:pt x="93" y="211"/>
                      <a:pt x="95" y="213"/>
                    </a:cubicBezTo>
                    <a:cubicBezTo>
                      <a:pt x="99" y="218"/>
                      <a:pt x="96" y="231"/>
                      <a:pt x="105" y="217"/>
                    </a:cubicBezTo>
                    <a:cubicBezTo>
                      <a:pt x="114" y="211"/>
                      <a:pt x="118" y="201"/>
                      <a:pt x="125" y="196"/>
                    </a:cubicBezTo>
                    <a:cubicBezTo>
                      <a:pt x="130" y="186"/>
                      <a:pt x="137" y="186"/>
                      <a:pt x="138" y="174"/>
                    </a:cubicBezTo>
                    <a:cubicBezTo>
                      <a:pt x="143" y="168"/>
                      <a:pt x="149" y="168"/>
                      <a:pt x="150" y="161"/>
                    </a:cubicBezTo>
                    <a:cubicBezTo>
                      <a:pt x="143" y="157"/>
                      <a:pt x="138" y="152"/>
                      <a:pt x="152" y="151"/>
                    </a:cubicBezTo>
                    <a:cubicBezTo>
                      <a:pt x="162" y="145"/>
                      <a:pt x="175" y="161"/>
                      <a:pt x="179" y="143"/>
                    </a:cubicBezTo>
                    <a:cubicBezTo>
                      <a:pt x="193" y="149"/>
                      <a:pt x="188" y="132"/>
                      <a:pt x="202" y="129"/>
                    </a:cubicBezTo>
                    <a:cubicBezTo>
                      <a:pt x="211" y="139"/>
                      <a:pt x="202" y="119"/>
                      <a:pt x="218" y="122"/>
                    </a:cubicBezTo>
                    <a:cubicBezTo>
                      <a:pt x="228" y="115"/>
                      <a:pt x="214" y="104"/>
                      <a:pt x="237" y="106"/>
                    </a:cubicBezTo>
                    <a:cubicBezTo>
                      <a:pt x="231" y="102"/>
                      <a:pt x="236" y="70"/>
                      <a:pt x="226" y="84"/>
                    </a:cubicBezTo>
                    <a:cubicBezTo>
                      <a:pt x="222" y="103"/>
                      <a:pt x="214" y="97"/>
                      <a:pt x="216" y="81"/>
                    </a:cubicBezTo>
                    <a:cubicBezTo>
                      <a:pt x="212" y="71"/>
                      <a:pt x="237" y="74"/>
                      <a:pt x="236" y="63"/>
                    </a:cubicBezTo>
                    <a:cubicBezTo>
                      <a:pt x="248" y="58"/>
                      <a:pt x="233" y="43"/>
                      <a:pt x="229" y="38"/>
                    </a:cubicBezTo>
                    <a:cubicBezTo>
                      <a:pt x="237" y="30"/>
                      <a:pt x="255" y="37"/>
                      <a:pt x="265" y="42"/>
                    </a:cubicBezTo>
                    <a:cubicBezTo>
                      <a:pt x="277" y="50"/>
                      <a:pt x="277" y="60"/>
                      <a:pt x="282" y="71"/>
                    </a:cubicBezTo>
                    <a:cubicBezTo>
                      <a:pt x="297" y="77"/>
                      <a:pt x="284" y="93"/>
                      <a:pt x="293" y="102"/>
                    </a:cubicBezTo>
                    <a:cubicBezTo>
                      <a:pt x="294" y="114"/>
                      <a:pt x="314" y="108"/>
                      <a:pt x="322" y="110"/>
                    </a:cubicBezTo>
                    <a:cubicBezTo>
                      <a:pt x="334" y="108"/>
                      <a:pt x="339" y="106"/>
                      <a:pt x="340" y="92"/>
                    </a:cubicBezTo>
                    <a:cubicBezTo>
                      <a:pt x="352" y="90"/>
                      <a:pt x="365" y="90"/>
                      <a:pt x="373" y="82"/>
                    </a:cubicBezTo>
                    <a:cubicBezTo>
                      <a:pt x="371" y="64"/>
                      <a:pt x="396" y="76"/>
                      <a:pt x="408" y="72"/>
                    </a:cubicBezTo>
                    <a:cubicBezTo>
                      <a:pt x="408" y="76"/>
                      <a:pt x="408" y="76"/>
                      <a:pt x="408" y="76"/>
                    </a:cubicBezTo>
                    <a:cubicBezTo>
                      <a:pt x="417" y="83"/>
                      <a:pt x="417" y="83"/>
                      <a:pt x="417" y="83"/>
                    </a:cubicBezTo>
                    <a:cubicBezTo>
                      <a:pt x="415" y="86"/>
                      <a:pt x="415" y="86"/>
                      <a:pt x="415" y="86"/>
                    </a:cubicBezTo>
                    <a:cubicBezTo>
                      <a:pt x="408" y="86"/>
                      <a:pt x="408" y="86"/>
                      <a:pt x="408" y="86"/>
                    </a:cubicBezTo>
                    <a:cubicBezTo>
                      <a:pt x="406" y="88"/>
                      <a:pt x="406" y="88"/>
                      <a:pt x="406" y="88"/>
                    </a:cubicBezTo>
                    <a:cubicBezTo>
                      <a:pt x="411" y="96"/>
                      <a:pt x="411" y="96"/>
                      <a:pt x="411" y="96"/>
                    </a:cubicBezTo>
                    <a:cubicBezTo>
                      <a:pt x="411" y="101"/>
                      <a:pt x="411" y="101"/>
                      <a:pt x="411" y="101"/>
                    </a:cubicBezTo>
                    <a:cubicBezTo>
                      <a:pt x="403" y="114"/>
                      <a:pt x="403" y="114"/>
                      <a:pt x="403" y="114"/>
                    </a:cubicBezTo>
                    <a:cubicBezTo>
                      <a:pt x="407" y="130"/>
                      <a:pt x="407" y="130"/>
                      <a:pt x="407" y="130"/>
                    </a:cubicBezTo>
                    <a:cubicBezTo>
                      <a:pt x="407" y="132"/>
                      <a:pt x="407" y="132"/>
                      <a:pt x="407" y="132"/>
                    </a:cubicBezTo>
                    <a:cubicBezTo>
                      <a:pt x="406" y="135"/>
                      <a:pt x="406" y="135"/>
                      <a:pt x="406" y="135"/>
                    </a:cubicBezTo>
                    <a:cubicBezTo>
                      <a:pt x="403" y="155"/>
                      <a:pt x="403" y="155"/>
                      <a:pt x="403" y="155"/>
                    </a:cubicBezTo>
                    <a:cubicBezTo>
                      <a:pt x="396" y="166"/>
                      <a:pt x="396" y="166"/>
                      <a:pt x="396" y="166"/>
                    </a:cubicBezTo>
                    <a:cubicBezTo>
                      <a:pt x="405" y="180"/>
                      <a:pt x="405" y="180"/>
                      <a:pt x="405" y="180"/>
                    </a:cubicBezTo>
                    <a:cubicBezTo>
                      <a:pt x="403" y="190"/>
                      <a:pt x="403" y="190"/>
                      <a:pt x="403" y="190"/>
                    </a:cubicBezTo>
                    <a:cubicBezTo>
                      <a:pt x="406" y="207"/>
                      <a:pt x="406" y="207"/>
                      <a:pt x="406" y="207"/>
                    </a:cubicBezTo>
                    <a:cubicBezTo>
                      <a:pt x="409" y="205"/>
                      <a:pt x="409" y="205"/>
                      <a:pt x="409" y="205"/>
                    </a:cubicBezTo>
                    <a:cubicBezTo>
                      <a:pt x="409" y="191"/>
                      <a:pt x="409" y="191"/>
                      <a:pt x="409" y="191"/>
                    </a:cubicBezTo>
                    <a:cubicBezTo>
                      <a:pt x="416" y="189"/>
                      <a:pt x="416" y="189"/>
                      <a:pt x="416" y="189"/>
                    </a:cubicBezTo>
                    <a:cubicBezTo>
                      <a:pt x="416" y="182"/>
                      <a:pt x="416" y="182"/>
                      <a:pt x="416" y="182"/>
                    </a:cubicBezTo>
                    <a:lnTo>
                      <a:pt x="411" y="170"/>
                    </a:ln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3" name="Freeform 8">
                <a:extLst>
                  <a:ext uri="{FF2B5EF4-FFF2-40B4-BE49-F238E27FC236}">
                    <a16:creationId xmlns:a16="http://schemas.microsoft.com/office/drawing/2014/main" id="{AB538AA5-D82B-40F6-B6F4-DA24F419C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5515" y="3265489"/>
                <a:ext cx="1719263" cy="1882776"/>
              </a:xfrm>
              <a:custGeom>
                <a:avLst/>
                <a:gdLst>
                  <a:gd name="T0" fmla="*/ 170 w 1026"/>
                  <a:gd name="T1" fmla="*/ 772 h 1126"/>
                  <a:gd name="T2" fmla="*/ 248 w 1026"/>
                  <a:gd name="T3" fmla="*/ 741 h 1126"/>
                  <a:gd name="T4" fmla="*/ 209 w 1026"/>
                  <a:gd name="T5" fmla="*/ 621 h 1126"/>
                  <a:gd name="T6" fmla="*/ 59 w 1026"/>
                  <a:gd name="T7" fmla="*/ 548 h 1126"/>
                  <a:gd name="T8" fmla="*/ 41 w 1026"/>
                  <a:gd name="T9" fmla="*/ 385 h 1126"/>
                  <a:gd name="T10" fmla="*/ 77 w 1026"/>
                  <a:gd name="T11" fmla="*/ 275 h 1126"/>
                  <a:gd name="T12" fmla="*/ 181 w 1026"/>
                  <a:gd name="T13" fmla="*/ 217 h 1126"/>
                  <a:gd name="T14" fmla="*/ 219 w 1026"/>
                  <a:gd name="T15" fmla="*/ 105 h 1126"/>
                  <a:gd name="T16" fmla="*/ 352 w 1026"/>
                  <a:gd name="T17" fmla="*/ 127 h 1126"/>
                  <a:gd name="T18" fmla="*/ 492 w 1026"/>
                  <a:gd name="T19" fmla="*/ 99 h 1126"/>
                  <a:gd name="T20" fmla="*/ 600 w 1026"/>
                  <a:gd name="T21" fmla="*/ 33 h 1126"/>
                  <a:gd name="T22" fmla="*/ 688 w 1026"/>
                  <a:gd name="T23" fmla="*/ 39 h 1126"/>
                  <a:gd name="T24" fmla="*/ 666 w 1026"/>
                  <a:gd name="T25" fmla="*/ 123 h 1126"/>
                  <a:gd name="T26" fmla="*/ 840 w 1026"/>
                  <a:gd name="T27" fmla="*/ 174 h 1126"/>
                  <a:gd name="T28" fmla="*/ 920 w 1026"/>
                  <a:gd name="T29" fmla="*/ 285 h 1126"/>
                  <a:gd name="T30" fmla="*/ 1007 w 1026"/>
                  <a:gd name="T31" fmla="*/ 367 h 1126"/>
                  <a:gd name="T32" fmla="*/ 1001 w 1026"/>
                  <a:gd name="T33" fmla="*/ 475 h 1126"/>
                  <a:gd name="T34" fmla="*/ 961 w 1026"/>
                  <a:gd name="T35" fmla="*/ 434 h 1126"/>
                  <a:gd name="T36" fmla="*/ 904 w 1026"/>
                  <a:gd name="T37" fmla="*/ 426 h 1126"/>
                  <a:gd name="T38" fmla="*/ 854 w 1026"/>
                  <a:gd name="T39" fmla="*/ 444 h 1126"/>
                  <a:gd name="T40" fmla="*/ 850 w 1026"/>
                  <a:gd name="T41" fmla="*/ 487 h 1126"/>
                  <a:gd name="T42" fmla="*/ 829 w 1026"/>
                  <a:gd name="T43" fmla="*/ 533 h 1126"/>
                  <a:gd name="T44" fmla="*/ 803 w 1026"/>
                  <a:gd name="T45" fmla="*/ 597 h 1126"/>
                  <a:gd name="T46" fmla="*/ 853 w 1026"/>
                  <a:gd name="T47" fmla="*/ 683 h 1126"/>
                  <a:gd name="T48" fmla="*/ 872 w 1026"/>
                  <a:gd name="T49" fmla="*/ 725 h 1126"/>
                  <a:gd name="T50" fmla="*/ 894 w 1026"/>
                  <a:gd name="T51" fmla="*/ 764 h 1126"/>
                  <a:gd name="T52" fmla="*/ 909 w 1026"/>
                  <a:gd name="T53" fmla="*/ 823 h 1126"/>
                  <a:gd name="T54" fmla="*/ 924 w 1026"/>
                  <a:gd name="T55" fmla="*/ 870 h 1126"/>
                  <a:gd name="T56" fmla="*/ 810 w 1026"/>
                  <a:gd name="T57" fmla="*/ 903 h 1126"/>
                  <a:gd name="T58" fmla="*/ 733 w 1026"/>
                  <a:gd name="T59" fmla="*/ 882 h 1126"/>
                  <a:gd name="T60" fmla="*/ 696 w 1026"/>
                  <a:gd name="T61" fmla="*/ 944 h 1126"/>
                  <a:gd name="T62" fmla="*/ 622 w 1026"/>
                  <a:gd name="T63" fmla="*/ 1018 h 1126"/>
                  <a:gd name="T64" fmla="*/ 547 w 1026"/>
                  <a:gd name="T65" fmla="*/ 1018 h 1126"/>
                  <a:gd name="T66" fmla="*/ 510 w 1026"/>
                  <a:gd name="T67" fmla="*/ 1111 h 1126"/>
                  <a:gd name="T68" fmla="*/ 475 w 1026"/>
                  <a:gd name="T69" fmla="*/ 1112 h 1126"/>
                  <a:gd name="T70" fmla="*/ 470 w 1026"/>
                  <a:gd name="T71" fmla="*/ 1112 h 1126"/>
                  <a:gd name="T72" fmla="*/ 434 w 1026"/>
                  <a:gd name="T73" fmla="*/ 1105 h 1126"/>
                  <a:gd name="T74" fmla="*/ 421 w 1026"/>
                  <a:gd name="T75" fmla="*/ 1093 h 1126"/>
                  <a:gd name="T76" fmla="*/ 416 w 1026"/>
                  <a:gd name="T77" fmla="*/ 1089 h 1126"/>
                  <a:gd name="T78" fmla="*/ 397 w 1026"/>
                  <a:gd name="T79" fmla="*/ 1072 h 1126"/>
                  <a:gd name="T80" fmla="*/ 331 w 1026"/>
                  <a:gd name="T81" fmla="*/ 1020 h 1126"/>
                  <a:gd name="T82" fmla="*/ 278 w 1026"/>
                  <a:gd name="T83" fmla="*/ 951 h 1126"/>
                  <a:gd name="T84" fmla="*/ 248 w 1026"/>
                  <a:gd name="T85" fmla="*/ 963 h 1126"/>
                  <a:gd name="T86" fmla="*/ 275 w 1026"/>
                  <a:gd name="T87" fmla="*/ 1017 h 1126"/>
                  <a:gd name="T88" fmla="*/ 272 w 1026"/>
                  <a:gd name="T89" fmla="*/ 1037 h 1126"/>
                  <a:gd name="T90" fmla="*/ 273 w 1026"/>
                  <a:gd name="T91" fmla="*/ 1051 h 1126"/>
                  <a:gd name="T92" fmla="*/ 278 w 1026"/>
                  <a:gd name="T93" fmla="*/ 1067 h 1126"/>
                  <a:gd name="T94" fmla="*/ 215 w 1026"/>
                  <a:gd name="T95" fmla="*/ 1040 h 1126"/>
                  <a:gd name="T96" fmla="*/ 210 w 1026"/>
                  <a:gd name="T97" fmla="*/ 988 h 1126"/>
                  <a:gd name="T98" fmla="*/ 195 w 1026"/>
                  <a:gd name="T99" fmla="*/ 956 h 1126"/>
                  <a:gd name="T100" fmla="*/ 164 w 1026"/>
                  <a:gd name="T101" fmla="*/ 947 h 1126"/>
                  <a:gd name="T102" fmla="*/ 157 w 1026"/>
                  <a:gd name="T103" fmla="*/ 946 h 1126"/>
                  <a:gd name="T104" fmla="*/ 149 w 1026"/>
                  <a:gd name="T105" fmla="*/ 944 h 1126"/>
                  <a:gd name="T106" fmla="*/ 144 w 1026"/>
                  <a:gd name="T107" fmla="*/ 942 h 1126"/>
                  <a:gd name="T108" fmla="*/ 47 w 1026"/>
                  <a:gd name="T109" fmla="*/ 968 h 1126"/>
                  <a:gd name="T110" fmla="*/ 118 w 1026"/>
                  <a:gd name="T111" fmla="*/ 880 h 1126"/>
                  <a:gd name="T112" fmla="*/ 145 w 1026"/>
                  <a:gd name="T113" fmla="*/ 812 h 1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6" h="1126">
                    <a:moveTo>
                      <a:pt x="147" y="827"/>
                    </a:moveTo>
                    <a:cubicBezTo>
                      <a:pt x="144" y="827"/>
                      <a:pt x="161" y="814"/>
                      <a:pt x="156" y="815"/>
                    </a:cubicBezTo>
                    <a:cubicBezTo>
                      <a:pt x="159" y="807"/>
                      <a:pt x="155" y="810"/>
                      <a:pt x="151" y="809"/>
                    </a:cubicBezTo>
                    <a:cubicBezTo>
                      <a:pt x="148" y="803"/>
                      <a:pt x="149" y="800"/>
                      <a:pt x="148" y="798"/>
                    </a:cubicBezTo>
                    <a:cubicBezTo>
                      <a:pt x="150" y="782"/>
                      <a:pt x="173" y="790"/>
                      <a:pt x="170" y="772"/>
                    </a:cubicBezTo>
                    <a:cubicBezTo>
                      <a:pt x="150" y="775"/>
                      <a:pt x="158" y="766"/>
                      <a:pt x="162" y="758"/>
                    </a:cubicBezTo>
                    <a:cubicBezTo>
                      <a:pt x="174" y="750"/>
                      <a:pt x="190" y="758"/>
                      <a:pt x="200" y="757"/>
                    </a:cubicBezTo>
                    <a:cubicBezTo>
                      <a:pt x="215" y="756"/>
                      <a:pt x="204" y="747"/>
                      <a:pt x="216" y="743"/>
                    </a:cubicBezTo>
                    <a:cubicBezTo>
                      <a:pt x="231" y="736"/>
                      <a:pt x="225" y="756"/>
                      <a:pt x="235" y="761"/>
                    </a:cubicBezTo>
                    <a:cubicBezTo>
                      <a:pt x="228" y="746"/>
                      <a:pt x="248" y="753"/>
                      <a:pt x="248" y="741"/>
                    </a:cubicBezTo>
                    <a:cubicBezTo>
                      <a:pt x="238" y="726"/>
                      <a:pt x="257" y="711"/>
                      <a:pt x="244" y="697"/>
                    </a:cubicBezTo>
                    <a:cubicBezTo>
                      <a:pt x="242" y="691"/>
                      <a:pt x="228" y="677"/>
                      <a:pt x="245" y="673"/>
                    </a:cubicBezTo>
                    <a:cubicBezTo>
                      <a:pt x="247" y="665"/>
                      <a:pt x="267" y="672"/>
                      <a:pt x="259" y="660"/>
                    </a:cubicBezTo>
                    <a:cubicBezTo>
                      <a:pt x="256" y="645"/>
                      <a:pt x="258" y="640"/>
                      <a:pt x="255" y="630"/>
                    </a:cubicBezTo>
                    <a:cubicBezTo>
                      <a:pt x="246" y="628"/>
                      <a:pt x="223" y="625"/>
                      <a:pt x="209" y="621"/>
                    </a:cubicBezTo>
                    <a:cubicBezTo>
                      <a:pt x="191" y="620"/>
                      <a:pt x="173" y="618"/>
                      <a:pt x="170" y="598"/>
                    </a:cubicBezTo>
                    <a:cubicBezTo>
                      <a:pt x="163" y="584"/>
                      <a:pt x="155" y="557"/>
                      <a:pt x="134" y="565"/>
                    </a:cubicBezTo>
                    <a:cubicBezTo>
                      <a:pt x="123" y="564"/>
                      <a:pt x="108" y="586"/>
                      <a:pt x="113" y="566"/>
                    </a:cubicBezTo>
                    <a:cubicBezTo>
                      <a:pt x="109" y="554"/>
                      <a:pt x="111" y="562"/>
                      <a:pt x="97" y="560"/>
                    </a:cubicBezTo>
                    <a:cubicBezTo>
                      <a:pt x="83" y="559"/>
                      <a:pt x="72" y="551"/>
                      <a:pt x="59" y="548"/>
                    </a:cubicBezTo>
                    <a:cubicBezTo>
                      <a:pt x="41" y="551"/>
                      <a:pt x="24" y="554"/>
                      <a:pt x="9" y="558"/>
                    </a:cubicBezTo>
                    <a:cubicBezTo>
                      <a:pt x="5" y="547"/>
                      <a:pt x="0" y="531"/>
                      <a:pt x="1" y="519"/>
                    </a:cubicBezTo>
                    <a:cubicBezTo>
                      <a:pt x="7" y="485"/>
                      <a:pt x="17" y="451"/>
                      <a:pt x="14" y="416"/>
                    </a:cubicBezTo>
                    <a:cubicBezTo>
                      <a:pt x="12" y="403"/>
                      <a:pt x="11" y="395"/>
                      <a:pt x="19" y="403"/>
                    </a:cubicBezTo>
                    <a:cubicBezTo>
                      <a:pt x="27" y="411"/>
                      <a:pt x="35" y="386"/>
                      <a:pt x="41" y="385"/>
                    </a:cubicBezTo>
                    <a:cubicBezTo>
                      <a:pt x="34" y="376"/>
                      <a:pt x="41" y="376"/>
                      <a:pt x="39" y="367"/>
                    </a:cubicBezTo>
                    <a:cubicBezTo>
                      <a:pt x="40" y="370"/>
                      <a:pt x="36" y="363"/>
                      <a:pt x="35" y="362"/>
                    </a:cubicBezTo>
                    <a:cubicBezTo>
                      <a:pt x="38" y="356"/>
                      <a:pt x="39" y="341"/>
                      <a:pt x="37" y="328"/>
                    </a:cubicBezTo>
                    <a:cubicBezTo>
                      <a:pt x="31" y="311"/>
                      <a:pt x="44" y="307"/>
                      <a:pt x="53" y="297"/>
                    </a:cubicBezTo>
                    <a:cubicBezTo>
                      <a:pt x="51" y="281"/>
                      <a:pt x="62" y="276"/>
                      <a:pt x="77" y="275"/>
                    </a:cubicBezTo>
                    <a:cubicBezTo>
                      <a:pt x="98" y="283"/>
                      <a:pt x="91" y="259"/>
                      <a:pt x="104" y="258"/>
                    </a:cubicBezTo>
                    <a:cubicBezTo>
                      <a:pt x="113" y="260"/>
                      <a:pt x="124" y="262"/>
                      <a:pt x="133" y="250"/>
                    </a:cubicBezTo>
                    <a:cubicBezTo>
                      <a:pt x="140" y="259"/>
                      <a:pt x="144" y="238"/>
                      <a:pt x="154" y="233"/>
                    </a:cubicBezTo>
                    <a:cubicBezTo>
                      <a:pt x="169" y="219"/>
                      <a:pt x="162" y="250"/>
                      <a:pt x="172" y="234"/>
                    </a:cubicBezTo>
                    <a:cubicBezTo>
                      <a:pt x="191" y="229"/>
                      <a:pt x="174" y="222"/>
                      <a:pt x="181" y="217"/>
                    </a:cubicBezTo>
                    <a:cubicBezTo>
                      <a:pt x="172" y="203"/>
                      <a:pt x="205" y="199"/>
                      <a:pt x="188" y="191"/>
                    </a:cubicBezTo>
                    <a:cubicBezTo>
                      <a:pt x="195" y="175"/>
                      <a:pt x="216" y="180"/>
                      <a:pt x="231" y="178"/>
                    </a:cubicBezTo>
                    <a:cubicBezTo>
                      <a:pt x="261" y="178"/>
                      <a:pt x="223" y="169"/>
                      <a:pt x="234" y="157"/>
                    </a:cubicBezTo>
                    <a:cubicBezTo>
                      <a:pt x="225" y="146"/>
                      <a:pt x="230" y="134"/>
                      <a:pt x="227" y="120"/>
                    </a:cubicBezTo>
                    <a:cubicBezTo>
                      <a:pt x="217" y="123"/>
                      <a:pt x="213" y="121"/>
                      <a:pt x="219" y="105"/>
                    </a:cubicBezTo>
                    <a:cubicBezTo>
                      <a:pt x="218" y="96"/>
                      <a:pt x="237" y="95"/>
                      <a:pt x="248" y="89"/>
                    </a:cubicBezTo>
                    <a:cubicBezTo>
                      <a:pt x="248" y="89"/>
                      <a:pt x="248" y="89"/>
                      <a:pt x="248" y="89"/>
                    </a:cubicBezTo>
                    <a:cubicBezTo>
                      <a:pt x="254" y="106"/>
                      <a:pt x="266" y="99"/>
                      <a:pt x="280" y="108"/>
                    </a:cubicBezTo>
                    <a:cubicBezTo>
                      <a:pt x="296" y="108"/>
                      <a:pt x="302" y="123"/>
                      <a:pt x="319" y="114"/>
                    </a:cubicBezTo>
                    <a:cubicBezTo>
                      <a:pt x="337" y="106"/>
                      <a:pt x="332" y="134"/>
                      <a:pt x="352" y="127"/>
                    </a:cubicBezTo>
                    <a:cubicBezTo>
                      <a:pt x="365" y="120"/>
                      <a:pt x="378" y="113"/>
                      <a:pt x="394" y="118"/>
                    </a:cubicBezTo>
                    <a:cubicBezTo>
                      <a:pt x="407" y="122"/>
                      <a:pt x="425" y="134"/>
                      <a:pt x="433" y="118"/>
                    </a:cubicBezTo>
                    <a:cubicBezTo>
                      <a:pt x="421" y="100"/>
                      <a:pt x="448" y="117"/>
                      <a:pt x="452" y="105"/>
                    </a:cubicBezTo>
                    <a:cubicBezTo>
                      <a:pt x="454" y="96"/>
                      <a:pt x="470" y="83"/>
                      <a:pt x="476" y="89"/>
                    </a:cubicBezTo>
                    <a:cubicBezTo>
                      <a:pt x="480" y="96"/>
                      <a:pt x="477" y="108"/>
                      <a:pt x="492" y="99"/>
                    </a:cubicBezTo>
                    <a:cubicBezTo>
                      <a:pt x="491" y="89"/>
                      <a:pt x="486" y="81"/>
                      <a:pt x="500" y="77"/>
                    </a:cubicBezTo>
                    <a:cubicBezTo>
                      <a:pt x="510" y="78"/>
                      <a:pt x="522" y="89"/>
                      <a:pt x="532" y="80"/>
                    </a:cubicBezTo>
                    <a:cubicBezTo>
                      <a:pt x="545" y="76"/>
                      <a:pt x="545" y="62"/>
                      <a:pt x="559" y="61"/>
                    </a:cubicBezTo>
                    <a:cubicBezTo>
                      <a:pt x="569" y="66"/>
                      <a:pt x="586" y="59"/>
                      <a:pt x="583" y="46"/>
                    </a:cubicBezTo>
                    <a:cubicBezTo>
                      <a:pt x="579" y="37"/>
                      <a:pt x="594" y="21"/>
                      <a:pt x="600" y="33"/>
                    </a:cubicBezTo>
                    <a:cubicBezTo>
                      <a:pt x="614" y="32"/>
                      <a:pt x="628" y="30"/>
                      <a:pt x="638" y="24"/>
                    </a:cubicBezTo>
                    <a:cubicBezTo>
                      <a:pt x="644" y="12"/>
                      <a:pt x="660" y="22"/>
                      <a:pt x="661" y="14"/>
                    </a:cubicBezTo>
                    <a:cubicBezTo>
                      <a:pt x="674" y="15"/>
                      <a:pt x="679" y="5"/>
                      <a:pt x="685" y="0"/>
                    </a:cubicBezTo>
                    <a:cubicBezTo>
                      <a:pt x="687" y="1"/>
                      <a:pt x="689" y="2"/>
                      <a:pt x="690" y="4"/>
                    </a:cubicBezTo>
                    <a:cubicBezTo>
                      <a:pt x="697" y="12"/>
                      <a:pt x="688" y="29"/>
                      <a:pt x="688" y="39"/>
                    </a:cubicBezTo>
                    <a:cubicBezTo>
                      <a:pt x="689" y="47"/>
                      <a:pt x="672" y="65"/>
                      <a:pt x="684" y="56"/>
                    </a:cubicBezTo>
                    <a:cubicBezTo>
                      <a:pt x="693" y="54"/>
                      <a:pt x="701" y="65"/>
                      <a:pt x="699" y="78"/>
                    </a:cubicBezTo>
                    <a:cubicBezTo>
                      <a:pt x="706" y="91"/>
                      <a:pt x="696" y="112"/>
                      <a:pt x="680" y="104"/>
                    </a:cubicBezTo>
                    <a:cubicBezTo>
                      <a:pt x="678" y="109"/>
                      <a:pt x="672" y="113"/>
                      <a:pt x="675" y="114"/>
                    </a:cubicBezTo>
                    <a:cubicBezTo>
                      <a:pt x="675" y="122"/>
                      <a:pt x="660" y="114"/>
                      <a:pt x="666" y="123"/>
                    </a:cubicBezTo>
                    <a:cubicBezTo>
                      <a:pt x="673" y="136"/>
                      <a:pt x="692" y="133"/>
                      <a:pt x="704" y="139"/>
                    </a:cubicBezTo>
                    <a:cubicBezTo>
                      <a:pt x="719" y="143"/>
                      <a:pt x="733" y="140"/>
                      <a:pt x="745" y="134"/>
                    </a:cubicBezTo>
                    <a:cubicBezTo>
                      <a:pt x="757" y="131"/>
                      <a:pt x="778" y="125"/>
                      <a:pt x="783" y="138"/>
                    </a:cubicBezTo>
                    <a:cubicBezTo>
                      <a:pt x="796" y="137"/>
                      <a:pt x="806" y="154"/>
                      <a:pt x="821" y="154"/>
                    </a:cubicBezTo>
                    <a:cubicBezTo>
                      <a:pt x="836" y="151"/>
                      <a:pt x="834" y="168"/>
                      <a:pt x="840" y="174"/>
                    </a:cubicBezTo>
                    <a:cubicBezTo>
                      <a:pt x="832" y="176"/>
                      <a:pt x="831" y="192"/>
                      <a:pt x="841" y="192"/>
                    </a:cubicBezTo>
                    <a:cubicBezTo>
                      <a:pt x="844" y="200"/>
                      <a:pt x="839" y="210"/>
                      <a:pt x="853" y="207"/>
                    </a:cubicBezTo>
                    <a:cubicBezTo>
                      <a:pt x="865" y="220"/>
                      <a:pt x="872" y="224"/>
                      <a:pt x="884" y="208"/>
                    </a:cubicBezTo>
                    <a:cubicBezTo>
                      <a:pt x="891" y="209"/>
                      <a:pt x="885" y="233"/>
                      <a:pt x="889" y="243"/>
                    </a:cubicBezTo>
                    <a:cubicBezTo>
                      <a:pt x="884" y="264"/>
                      <a:pt x="910" y="271"/>
                      <a:pt x="920" y="285"/>
                    </a:cubicBezTo>
                    <a:cubicBezTo>
                      <a:pt x="933" y="306"/>
                      <a:pt x="945" y="282"/>
                      <a:pt x="955" y="300"/>
                    </a:cubicBezTo>
                    <a:cubicBezTo>
                      <a:pt x="968" y="311"/>
                      <a:pt x="978" y="325"/>
                      <a:pt x="989" y="338"/>
                    </a:cubicBezTo>
                    <a:cubicBezTo>
                      <a:pt x="992" y="336"/>
                      <a:pt x="993" y="336"/>
                      <a:pt x="994" y="337"/>
                    </a:cubicBezTo>
                    <a:cubicBezTo>
                      <a:pt x="996" y="339"/>
                      <a:pt x="996" y="345"/>
                      <a:pt x="1000" y="346"/>
                    </a:cubicBezTo>
                    <a:cubicBezTo>
                      <a:pt x="1003" y="353"/>
                      <a:pt x="1001" y="358"/>
                      <a:pt x="1007" y="367"/>
                    </a:cubicBezTo>
                    <a:cubicBezTo>
                      <a:pt x="1001" y="375"/>
                      <a:pt x="1007" y="380"/>
                      <a:pt x="1015" y="390"/>
                    </a:cubicBezTo>
                    <a:cubicBezTo>
                      <a:pt x="1016" y="402"/>
                      <a:pt x="1019" y="411"/>
                      <a:pt x="1024" y="421"/>
                    </a:cubicBezTo>
                    <a:cubicBezTo>
                      <a:pt x="1026" y="426"/>
                      <a:pt x="1023" y="429"/>
                      <a:pt x="1018" y="433"/>
                    </a:cubicBezTo>
                    <a:cubicBezTo>
                      <a:pt x="1012" y="435"/>
                      <a:pt x="1006" y="444"/>
                      <a:pt x="1006" y="450"/>
                    </a:cubicBezTo>
                    <a:cubicBezTo>
                      <a:pt x="1003" y="459"/>
                      <a:pt x="1003" y="467"/>
                      <a:pt x="1001" y="475"/>
                    </a:cubicBezTo>
                    <a:cubicBezTo>
                      <a:pt x="999" y="473"/>
                      <a:pt x="999" y="473"/>
                      <a:pt x="999" y="473"/>
                    </a:cubicBezTo>
                    <a:cubicBezTo>
                      <a:pt x="996" y="470"/>
                      <a:pt x="996" y="470"/>
                      <a:pt x="996" y="470"/>
                    </a:cubicBezTo>
                    <a:cubicBezTo>
                      <a:pt x="982" y="455"/>
                      <a:pt x="982" y="455"/>
                      <a:pt x="982" y="455"/>
                    </a:cubicBezTo>
                    <a:cubicBezTo>
                      <a:pt x="974" y="444"/>
                      <a:pt x="974" y="444"/>
                      <a:pt x="974" y="444"/>
                    </a:cubicBezTo>
                    <a:cubicBezTo>
                      <a:pt x="961" y="434"/>
                      <a:pt x="961" y="434"/>
                      <a:pt x="961" y="434"/>
                    </a:cubicBezTo>
                    <a:cubicBezTo>
                      <a:pt x="954" y="431"/>
                      <a:pt x="954" y="431"/>
                      <a:pt x="954" y="431"/>
                    </a:cubicBezTo>
                    <a:cubicBezTo>
                      <a:pt x="947" y="428"/>
                      <a:pt x="947" y="428"/>
                      <a:pt x="947" y="428"/>
                    </a:cubicBezTo>
                    <a:cubicBezTo>
                      <a:pt x="926" y="422"/>
                      <a:pt x="926" y="422"/>
                      <a:pt x="926" y="422"/>
                    </a:cubicBezTo>
                    <a:cubicBezTo>
                      <a:pt x="909" y="423"/>
                      <a:pt x="909" y="423"/>
                      <a:pt x="909" y="423"/>
                    </a:cubicBezTo>
                    <a:cubicBezTo>
                      <a:pt x="904" y="426"/>
                      <a:pt x="904" y="426"/>
                      <a:pt x="904" y="426"/>
                    </a:cubicBezTo>
                    <a:cubicBezTo>
                      <a:pt x="893" y="423"/>
                      <a:pt x="893" y="423"/>
                      <a:pt x="893" y="423"/>
                    </a:cubicBezTo>
                    <a:cubicBezTo>
                      <a:pt x="878" y="429"/>
                      <a:pt x="878" y="429"/>
                      <a:pt x="878" y="429"/>
                    </a:cubicBezTo>
                    <a:cubicBezTo>
                      <a:pt x="872" y="428"/>
                      <a:pt x="872" y="428"/>
                      <a:pt x="872" y="428"/>
                    </a:cubicBezTo>
                    <a:cubicBezTo>
                      <a:pt x="862" y="437"/>
                      <a:pt x="862" y="437"/>
                      <a:pt x="862" y="437"/>
                    </a:cubicBezTo>
                    <a:cubicBezTo>
                      <a:pt x="854" y="444"/>
                      <a:pt x="854" y="444"/>
                      <a:pt x="854" y="444"/>
                    </a:cubicBezTo>
                    <a:cubicBezTo>
                      <a:pt x="847" y="451"/>
                      <a:pt x="847" y="451"/>
                      <a:pt x="847" y="451"/>
                    </a:cubicBezTo>
                    <a:cubicBezTo>
                      <a:pt x="846" y="463"/>
                      <a:pt x="846" y="463"/>
                      <a:pt x="846" y="463"/>
                    </a:cubicBezTo>
                    <a:cubicBezTo>
                      <a:pt x="851" y="473"/>
                      <a:pt x="851" y="473"/>
                      <a:pt x="851" y="473"/>
                    </a:cubicBezTo>
                    <a:cubicBezTo>
                      <a:pt x="848" y="479"/>
                      <a:pt x="848" y="479"/>
                      <a:pt x="848" y="479"/>
                    </a:cubicBezTo>
                    <a:cubicBezTo>
                      <a:pt x="850" y="487"/>
                      <a:pt x="850" y="487"/>
                      <a:pt x="850" y="487"/>
                    </a:cubicBezTo>
                    <a:cubicBezTo>
                      <a:pt x="847" y="501"/>
                      <a:pt x="847" y="501"/>
                      <a:pt x="847" y="501"/>
                    </a:cubicBezTo>
                    <a:cubicBezTo>
                      <a:pt x="850" y="512"/>
                      <a:pt x="850" y="512"/>
                      <a:pt x="850" y="512"/>
                    </a:cubicBezTo>
                    <a:cubicBezTo>
                      <a:pt x="846" y="520"/>
                      <a:pt x="846" y="520"/>
                      <a:pt x="846" y="520"/>
                    </a:cubicBezTo>
                    <a:cubicBezTo>
                      <a:pt x="835" y="525"/>
                      <a:pt x="835" y="525"/>
                      <a:pt x="835" y="525"/>
                    </a:cubicBezTo>
                    <a:cubicBezTo>
                      <a:pt x="829" y="533"/>
                      <a:pt x="829" y="533"/>
                      <a:pt x="829" y="533"/>
                    </a:cubicBezTo>
                    <a:cubicBezTo>
                      <a:pt x="804" y="553"/>
                      <a:pt x="804" y="553"/>
                      <a:pt x="804" y="553"/>
                    </a:cubicBezTo>
                    <a:cubicBezTo>
                      <a:pt x="802" y="560"/>
                      <a:pt x="802" y="560"/>
                      <a:pt x="802" y="560"/>
                    </a:cubicBezTo>
                    <a:cubicBezTo>
                      <a:pt x="802" y="562"/>
                      <a:pt x="802" y="562"/>
                      <a:pt x="802" y="562"/>
                    </a:cubicBezTo>
                    <a:cubicBezTo>
                      <a:pt x="806" y="578"/>
                      <a:pt x="806" y="578"/>
                      <a:pt x="806" y="578"/>
                    </a:cubicBezTo>
                    <a:cubicBezTo>
                      <a:pt x="803" y="597"/>
                      <a:pt x="803" y="597"/>
                      <a:pt x="803" y="597"/>
                    </a:cubicBezTo>
                    <a:cubicBezTo>
                      <a:pt x="805" y="600"/>
                      <a:pt x="805" y="600"/>
                      <a:pt x="805" y="600"/>
                    </a:cubicBezTo>
                    <a:cubicBezTo>
                      <a:pt x="823" y="626"/>
                      <a:pt x="823" y="626"/>
                      <a:pt x="823" y="626"/>
                    </a:cubicBezTo>
                    <a:cubicBezTo>
                      <a:pt x="838" y="638"/>
                      <a:pt x="838" y="638"/>
                      <a:pt x="838" y="638"/>
                    </a:cubicBezTo>
                    <a:cubicBezTo>
                      <a:pt x="846" y="673"/>
                      <a:pt x="846" y="673"/>
                      <a:pt x="846" y="673"/>
                    </a:cubicBezTo>
                    <a:cubicBezTo>
                      <a:pt x="853" y="683"/>
                      <a:pt x="853" y="683"/>
                      <a:pt x="853" y="683"/>
                    </a:cubicBezTo>
                    <a:cubicBezTo>
                      <a:pt x="863" y="692"/>
                      <a:pt x="863" y="692"/>
                      <a:pt x="863" y="692"/>
                    </a:cubicBezTo>
                    <a:cubicBezTo>
                      <a:pt x="862" y="697"/>
                      <a:pt x="862" y="697"/>
                      <a:pt x="862" y="697"/>
                    </a:cubicBezTo>
                    <a:cubicBezTo>
                      <a:pt x="860" y="703"/>
                      <a:pt x="860" y="703"/>
                      <a:pt x="860" y="703"/>
                    </a:cubicBezTo>
                    <a:cubicBezTo>
                      <a:pt x="870" y="715"/>
                      <a:pt x="870" y="715"/>
                      <a:pt x="870" y="715"/>
                    </a:cubicBezTo>
                    <a:cubicBezTo>
                      <a:pt x="872" y="725"/>
                      <a:pt x="872" y="725"/>
                      <a:pt x="872" y="725"/>
                    </a:cubicBezTo>
                    <a:cubicBezTo>
                      <a:pt x="878" y="734"/>
                      <a:pt x="878" y="734"/>
                      <a:pt x="878" y="734"/>
                    </a:cubicBezTo>
                    <a:cubicBezTo>
                      <a:pt x="876" y="743"/>
                      <a:pt x="876" y="743"/>
                      <a:pt x="876" y="743"/>
                    </a:cubicBezTo>
                    <a:cubicBezTo>
                      <a:pt x="882" y="752"/>
                      <a:pt x="882" y="752"/>
                      <a:pt x="882" y="752"/>
                    </a:cubicBezTo>
                    <a:cubicBezTo>
                      <a:pt x="883" y="759"/>
                      <a:pt x="883" y="759"/>
                      <a:pt x="883" y="759"/>
                    </a:cubicBezTo>
                    <a:cubicBezTo>
                      <a:pt x="894" y="764"/>
                      <a:pt x="894" y="764"/>
                      <a:pt x="894" y="764"/>
                    </a:cubicBezTo>
                    <a:cubicBezTo>
                      <a:pt x="900" y="769"/>
                      <a:pt x="900" y="769"/>
                      <a:pt x="900" y="769"/>
                    </a:cubicBezTo>
                    <a:cubicBezTo>
                      <a:pt x="912" y="784"/>
                      <a:pt x="912" y="784"/>
                      <a:pt x="912" y="784"/>
                    </a:cubicBezTo>
                    <a:cubicBezTo>
                      <a:pt x="906" y="799"/>
                      <a:pt x="906" y="799"/>
                      <a:pt x="906" y="799"/>
                    </a:cubicBezTo>
                    <a:cubicBezTo>
                      <a:pt x="906" y="818"/>
                      <a:pt x="906" y="818"/>
                      <a:pt x="906" y="818"/>
                    </a:cubicBezTo>
                    <a:cubicBezTo>
                      <a:pt x="909" y="823"/>
                      <a:pt x="909" y="823"/>
                      <a:pt x="909" y="823"/>
                    </a:cubicBezTo>
                    <a:cubicBezTo>
                      <a:pt x="918" y="825"/>
                      <a:pt x="918" y="825"/>
                      <a:pt x="918" y="825"/>
                    </a:cubicBezTo>
                    <a:cubicBezTo>
                      <a:pt x="917" y="837"/>
                      <a:pt x="917" y="837"/>
                      <a:pt x="917" y="837"/>
                    </a:cubicBezTo>
                    <a:cubicBezTo>
                      <a:pt x="916" y="840"/>
                      <a:pt x="916" y="840"/>
                      <a:pt x="916" y="840"/>
                    </a:cubicBezTo>
                    <a:cubicBezTo>
                      <a:pt x="928" y="859"/>
                      <a:pt x="928" y="859"/>
                      <a:pt x="928" y="859"/>
                    </a:cubicBezTo>
                    <a:cubicBezTo>
                      <a:pt x="924" y="870"/>
                      <a:pt x="924" y="870"/>
                      <a:pt x="924" y="870"/>
                    </a:cubicBezTo>
                    <a:cubicBezTo>
                      <a:pt x="925" y="873"/>
                      <a:pt x="925" y="873"/>
                      <a:pt x="925" y="873"/>
                    </a:cubicBezTo>
                    <a:cubicBezTo>
                      <a:pt x="913" y="877"/>
                      <a:pt x="888" y="865"/>
                      <a:pt x="890" y="883"/>
                    </a:cubicBezTo>
                    <a:cubicBezTo>
                      <a:pt x="882" y="891"/>
                      <a:pt x="869" y="891"/>
                      <a:pt x="857" y="893"/>
                    </a:cubicBezTo>
                    <a:cubicBezTo>
                      <a:pt x="856" y="907"/>
                      <a:pt x="851" y="909"/>
                      <a:pt x="839" y="911"/>
                    </a:cubicBezTo>
                    <a:cubicBezTo>
                      <a:pt x="831" y="909"/>
                      <a:pt x="811" y="915"/>
                      <a:pt x="810" y="903"/>
                    </a:cubicBezTo>
                    <a:cubicBezTo>
                      <a:pt x="801" y="894"/>
                      <a:pt x="814" y="878"/>
                      <a:pt x="799" y="872"/>
                    </a:cubicBezTo>
                    <a:cubicBezTo>
                      <a:pt x="794" y="861"/>
                      <a:pt x="794" y="851"/>
                      <a:pt x="782" y="843"/>
                    </a:cubicBezTo>
                    <a:cubicBezTo>
                      <a:pt x="772" y="838"/>
                      <a:pt x="754" y="831"/>
                      <a:pt x="746" y="839"/>
                    </a:cubicBezTo>
                    <a:cubicBezTo>
                      <a:pt x="750" y="844"/>
                      <a:pt x="765" y="859"/>
                      <a:pt x="753" y="864"/>
                    </a:cubicBezTo>
                    <a:cubicBezTo>
                      <a:pt x="754" y="875"/>
                      <a:pt x="729" y="872"/>
                      <a:pt x="733" y="882"/>
                    </a:cubicBezTo>
                    <a:cubicBezTo>
                      <a:pt x="731" y="898"/>
                      <a:pt x="739" y="904"/>
                      <a:pt x="743" y="885"/>
                    </a:cubicBezTo>
                    <a:cubicBezTo>
                      <a:pt x="753" y="871"/>
                      <a:pt x="748" y="903"/>
                      <a:pt x="754" y="907"/>
                    </a:cubicBezTo>
                    <a:cubicBezTo>
                      <a:pt x="731" y="905"/>
                      <a:pt x="745" y="916"/>
                      <a:pt x="735" y="923"/>
                    </a:cubicBezTo>
                    <a:cubicBezTo>
                      <a:pt x="719" y="920"/>
                      <a:pt x="728" y="940"/>
                      <a:pt x="719" y="930"/>
                    </a:cubicBezTo>
                    <a:cubicBezTo>
                      <a:pt x="705" y="933"/>
                      <a:pt x="710" y="950"/>
                      <a:pt x="696" y="944"/>
                    </a:cubicBezTo>
                    <a:cubicBezTo>
                      <a:pt x="692" y="962"/>
                      <a:pt x="679" y="946"/>
                      <a:pt x="669" y="952"/>
                    </a:cubicBezTo>
                    <a:cubicBezTo>
                      <a:pt x="655" y="953"/>
                      <a:pt x="660" y="958"/>
                      <a:pt x="667" y="962"/>
                    </a:cubicBezTo>
                    <a:cubicBezTo>
                      <a:pt x="666" y="969"/>
                      <a:pt x="660" y="969"/>
                      <a:pt x="655" y="975"/>
                    </a:cubicBezTo>
                    <a:cubicBezTo>
                      <a:pt x="654" y="987"/>
                      <a:pt x="647" y="987"/>
                      <a:pt x="642" y="997"/>
                    </a:cubicBezTo>
                    <a:cubicBezTo>
                      <a:pt x="635" y="1002"/>
                      <a:pt x="631" y="1012"/>
                      <a:pt x="622" y="1018"/>
                    </a:cubicBezTo>
                    <a:cubicBezTo>
                      <a:pt x="613" y="1032"/>
                      <a:pt x="616" y="1019"/>
                      <a:pt x="612" y="1014"/>
                    </a:cubicBezTo>
                    <a:cubicBezTo>
                      <a:pt x="610" y="1012"/>
                      <a:pt x="600" y="1009"/>
                      <a:pt x="602" y="1010"/>
                    </a:cubicBezTo>
                    <a:cubicBezTo>
                      <a:pt x="601" y="1011"/>
                      <a:pt x="590" y="1010"/>
                      <a:pt x="590" y="1012"/>
                    </a:cubicBezTo>
                    <a:cubicBezTo>
                      <a:pt x="583" y="1016"/>
                      <a:pt x="585" y="1008"/>
                      <a:pt x="578" y="1011"/>
                    </a:cubicBezTo>
                    <a:cubicBezTo>
                      <a:pt x="568" y="1018"/>
                      <a:pt x="553" y="1005"/>
                      <a:pt x="547" y="1018"/>
                    </a:cubicBezTo>
                    <a:cubicBezTo>
                      <a:pt x="544" y="1030"/>
                      <a:pt x="563" y="1044"/>
                      <a:pt x="565" y="1058"/>
                    </a:cubicBezTo>
                    <a:cubicBezTo>
                      <a:pt x="567" y="1069"/>
                      <a:pt x="555" y="1072"/>
                      <a:pt x="554" y="1082"/>
                    </a:cubicBezTo>
                    <a:cubicBezTo>
                      <a:pt x="547" y="1097"/>
                      <a:pt x="531" y="1114"/>
                      <a:pt x="520" y="1124"/>
                    </a:cubicBezTo>
                    <a:cubicBezTo>
                      <a:pt x="520" y="1122"/>
                      <a:pt x="519" y="1120"/>
                      <a:pt x="519" y="1119"/>
                    </a:cubicBezTo>
                    <a:cubicBezTo>
                      <a:pt x="518" y="1114"/>
                      <a:pt x="517" y="1110"/>
                      <a:pt x="510" y="1111"/>
                    </a:cubicBezTo>
                    <a:cubicBezTo>
                      <a:pt x="503" y="1112"/>
                      <a:pt x="506" y="1126"/>
                      <a:pt x="506" y="1126"/>
                    </a:cubicBezTo>
                    <a:cubicBezTo>
                      <a:pt x="495" y="1126"/>
                      <a:pt x="495" y="1126"/>
                      <a:pt x="495" y="1126"/>
                    </a:cubicBezTo>
                    <a:cubicBezTo>
                      <a:pt x="491" y="1112"/>
                      <a:pt x="491" y="1112"/>
                      <a:pt x="491" y="1112"/>
                    </a:cubicBezTo>
                    <a:cubicBezTo>
                      <a:pt x="491" y="1112"/>
                      <a:pt x="483" y="1112"/>
                      <a:pt x="476" y="1112"/>
                    </a:cubicBezTo>
                    <a:cubicBezTo>
                      <a:pt x="476" y="1112"/>
                      <a:pt x="476" y="1112"/>
                      <a:pt x="475" y="1112"/>
                    </a:cubicBezTo>
                    <a:cubicBezTo>
                      <a:pt x="475" y="1112"/>
                      <a:pt x="474" y="1112"/>
                      <a:pt x="474" y="1112"/>
                    </a:cubicBezTo>
                    <a:cubicBezTo>
                      <a:pt x="474" y="1112"/>
                      <a:pt x="473" y="1112"/>
                      <a:pt x="473" y="1112"/>
                    </a:cubicBezTo>
                    <a:cubicBezTo>
                      <a:pt x="473" y="1112"/>
                      <a:pt x="472" y="1112"/>
                      <a:pt x="472" y="1112"/>
                    </a:cubicBezTo>
                    <a:cubicBezTo>
                      <a:pt x="472" y="1112"/>
                      <a:pt x="471" y="1112"/>
                      <a:pt x="471" y="1112"/>
                    </a:cubicBezTo>
                    <a:cubicBezTo>
                      <a:pt x="471" y="1112"/>
                      <a:pt x="470" y="1112"/>
                      <a:pt x="470" y="1112"/>
                    </a:cubicBezTo>
                    <a:cubicBezTo>
                      <a:pt x="469" y="1112"/>
                      <a:pt x="469" y="1112"/>
                      <a:pt x="469" y="1112"/>
                    </a:cubicBezTo>
                    <a:cubicBezTo>
                      <a:pt x="469" y="1112"/>
                      <a:pt x="468" y="1112"/>
                      <a:pt x="467" y="1112"/>
                    </a:cubicBezTo>
                    <a:cubicBezTo>
                      <a:pt x="459" y="1112"/>
                      <a:pt x="459" y="1110"/>
                      <a:pt x="461" y="1106"/>
                    </a:cubicBezTo>
                    <a:cubicBezTo>
                      <a:pt x="464" y="1103"/>
                      <a:pt x="465" y="1094"/>
                      <a:pt x="465" y="1094"/>
                    </a:cubicBezTo>
                    <a:cubicBezTo>
                      <a:pt x="434" y="1105"/>
                      <a:pt x="434" y="1105"/>
                      <a:pt x="434" y="1105"/>
                    </a:cubicBezTo>
                    <a:cubicBezTo>
                      <a:pt x="434" y="1105"/>
                      <a:pt x="429" y="1097"/>
                      <a:pt x="424" y="1095"/>
                    </a:cubicBezTo>
                    <a:cubicBezTo>
                      <a:pt x="424" y="1095"/>
                      <a:pt x="424" y="1094"/>
                      <a:pt x="423" y="1094"/>
                    </a:cubicBezTo>
                    <a:cubicBezTo>
                      <a:pt x="423" y="1094"/>
                      <a:pt x="423" y="1094"/>
                      <a:pt x="423" y="1094"/>
                    </a:cubicBezTo>
                    <a:cubicBezTo>
                      <a:pt x="422" y="1094"/>
                      <a:pt x="422" y="1093"/>
                      <a:pt x="422" y="1093"/>
                    </a:cubicBezTo>
                    <a:cubicBezTo>
                      <a:pt x="422" y="1093"/>
                      <a:pt x="421" y="1093"/>
                      <a:pt x="421" y="1093"/>
                    </a:cubicBezTo>
                    <a:cubicBezTo>
                      <a:pt x="421" y="1093"/>
                      <a:pt x="421" y="1092"/>
                      <a:pt x="420" y="1092"/>
                    </a:cubicBezTo>
                    <a:cubicBezTo>
                      <a:pt x="420" y="1092"/>
                      <a:pt x="420" y="1092"/>
                      <a:pt x="419" y="1091"/>
                    </a:cubicBezTo>
                    <a:cubicBezTo>
                      <a:pt x="419" y="1091"/>
                      <a:pt x="419" y="1091"/>
                      <a:pt x="418" y="1091"/>
                    </a:cubicBezTo>
                    <a:cubicBezTo>
                      <a:pt x="418" y="1090"/>
                      <a:pt x="418" y="1090"/>
                      <a:pt x="418" y="1090"/>
                    </a:cubicBezTo>
                    <a:cubicBezTo>
                      <a:pt x="417" y="1090"/>
                      <a:pt x="417" y="1089"/>
                      <a:pt x="416" y="1089"/>
                    </a:cubicBezTo>
                    <a:cubicBezTo>
                      <a:pt x="416" y="1089"/>
                      <a:pt x="416" y="1089"/>
                      <a:pt x="415" y="1088"/>
                    </a:cubicBezTo>
                    <a:cubicBezTo>
                      <a:pt x="415" y="1088"/>
                      <a:pt x="415" y="1088"/>
                      <a:pt x="414" y="1087"/>
                    </a:cubicBezTo>
                    <a:cubicBezTo>
                      <a:pt x="414" y="1087"/>
                      <a:pt x="414" y="1087"/>
                      <a:pt x="413" y="1087"/>
                    </a:cubicBezTo>
                    <a:cubicBezTo>
                      <a:pt x="413" y="1086"/>
                      <a:pt x="413" y="1086"/>
                      <a:pt x="412" y="1086"/>
                    </a:cubicBezTo>
                    <a:cubicBezTo>
                      <a:pt x="405" y="1079"/>
                      <a:pt x="397" y="1072"/>
                      <a:pt x="397" y="1072"/>
                    </a:cubicBezTo>
                    <a:cubicBezTo>
                      <a:pt x="402" y="1063"/>
                      <a:pt x="402" y="1063"/>
                      <a:pt x="402" y="1063"/>
                    </a:cubicBezTo>
                    <a:cubicBezTo>
                      <a:pt x="417" y="1056"/>
                      <a:pt x="417" y="1056"/>
                      <a:pt x="417" y="1056"/>
                    </a:cubicBezTo>
                    <a:cubicBezTo>
                      <a:pt x="403" y="1042"/>
                      <a:pt x="403" y="1042"/>
                      <a:pt x="403" y="1042"/>
                    </a:cubicBezTo>
                    <a:cubicBezTo>
                      <a:pt x="370" y="1022"/>
                      <a:pt x="370" y="1022"/>
                      <a:pt x="370" y="1022"/>
                    </a:cubicBezTo>
                    <a:cubicBezTo>
                      <a:pt x="331" y="1020"/>
                      <a:pt x="331" y="1020"/>
                      <a:pt x="331" y="1020"/>
                    </a:cubicBezTo>
                    <a:cubicBezTo>
                      <a:pt x="331" y="1020"/>
                      <a:pt x="322" y="1003"/>
                      <a:pt x="317" y="998"/>
                    </a:cubicBezTo>
                    <a:cubicBezTo>
                      <a:pt x="313" y="992"/>
                      <a:pt x="290" y="965"/>
                      <a:pt x="278" y="951"/>
                    </a:cubicBezTo>
                    <a:cubicBezTo>
                      <a:pt x="278" y="951"/>
                      <a:pt x="278" y="951"/>
                      <a:pt x="278" y="951"/>
                    </a:cubicBezTo>
                    <a:cubicBezTo>
                      <a:pt x="278" y="951"/>
                      <a:pt x="278" y="951"/>
                      <a:pt x="278" y="951"/>
                    </a:cubicBezTo>
                    <a:cubicBezTo>
                      <a:pt x="278" y="951"/>
                      <a:pt x="278" y="951"/>
                      <a:pt x="278" y="951"/>
                    </a:cubicBezTo>
                    <a:cubicBezTo>
                      <a:pt x="278" y="951"/>
                      <a:pt x="278" y="951"/>
                      <a:pt x="278" y="951"/>
                    </a:cubicBezTo>
                    <a:cubicBezTo>
                      <a:pt x="267" y="938"/>
                      <a:pt x="261" y="943"/>
                      <a:pt x="258" y="949"/>
                    </a:cubicBezTo>
                    <a:cubicBezTo>
                      <a:pt x="258" y="950"/>
                      <a:pt x="258" y="950"/>
                      <a:pt x="258" y="950"/>
                    </a:cubicBezTo>
                    <a:cubicBezTo>
                      <a:pt x="258" y="950"/>
                      <a:pt x="257" y="951"/>
                      <a:pt x="257" y="952"/>
                    </a:cubicBezTo>
                    <a:cubicBezTo>
                      <a:pt x="254" y="957"/>
                      <a:pt x="251" y="959"/>
                      <a:pt x="248" y="963"/>
                    </a:cubicBezTo>
                    <a:cubicBezTo>
                      <a:pt x="244" y="968"/>
                      <a:pt x="247" y="973"/>
                      <a:pt x="249" y="975"/>
                    </a:cubicBezTo>
                    <a:cubicBezTo>
                      <a:pt x="251" y="977"/>
                      <a:pt x="259" y="985"/>
                      <a:pt x="268" y="994"/>
                    </a:cubicBezTo>
                    <a:cubicBezTo>
                      <a:pt x="268" y="995"/>
                      <a:pt x="269" y="996"/>
                      <a:pt x="270" y="997"/>
                    </a:cubicBezTo>
                    <a:cubicBezTo>
                      <a:pt x="270" y="997"/>
                      <a:pt x="270" y="997"/>
                      <a:pt x="270" y="997"/>
                    </a:cubicBezTo>
                    <a:cubicBezTo>
                      <a:pt x="273" y="1002"/>
                      <a:pt x="275" y="1010"/>
                      <a:pt x="275" y="1017"/>
                    </a:cubicBezTo>
                    <a:cubicBezTo>
                      <a:pt x="275" y="1022"/>
                      <a:pt x="274" y="1027"/>
                      <a:pt x="273" y="1031"/>
                    </a:cubicBezTo>
                    <a:cubicBezTo>
                      <a:pt x="273" y="1032"/>
                      <a:pt x="272" y="1032"/>
                      <a:pt x="272" y="1033"/>
                    </a:cubicBezTo>
                    <a:cubicBezTo>
                      <a:pt x="272" y="1034"/>
                      <a:pt x="272" y="1034"/>
                      <a:pt x="272" y="1034"/>
                    </a:cubicBezTo>
                    <a:cubicBezTo>
                      <a:pt x="272" y="1035"/>
                      <a:pt x="272" y="1036"/>
                      <a:pt x="272" y="1036"/>
                    </a:cubicBezTo>
                    <a:cubicBezTo>
                      <a:pt x="272" y="1037"/>
                      <a:pt x="272" y="1037"/>
                      <a:pt x="272" y="1037"/>
                    </a:cubicBezTo>
                    <a:cubicBezTo>
                      <a:pt x="272" y="1038"/>
                      <a:pt x="272" y="1039"/>
                      <a:pt x="272" y="1040"/>
                    </a:cubicBezTo>
                    <a:cubicBezTo>
                      <a:pt x="272" y="1040"/>
                      <a:pt x="272" y="1040"/>
                      <a:pt x="272" y="1041"/>
                    </a:cubicBezTo>
                    <a:cubicBezTo>
                      <a:pt x="272" y="1042"/>
                      <a:pt x="272" y="1042"/>
                      <a:pt x="272" y="1043"/>
                    </a:cubicBezTo>
                    <a:cubicBezTo>
                      <a:pt x="272" y="1043"/>
                      <a:pt x="272" y="1044"/>
                      <a:pt x="272" y="1044"/>
                    </a:cubicBezTo>
                    <a:cubicBezTo>
                      <a:pt x="272" y="1046"/>
                      <a:pt x="272" y="1049"/>
                      <a:pt x="273" y="1051"/>
                    </a:cubicBezTo>
                    <a:cubicBezTo>
                      <a:pt x="273" y="1051"/>
                      <a:pt x="273" y="1051"/>
                      <a:pt x="273" y="1051"/>
                    </a:cubicBezTo>
                    <a:cubicBezTo>
                      <a:pt x="273" y="1052"/>
                      <a:pt x="273" y="1053"/>
                      <a:pt x="274" y="1055"/>
                    </a:cubicBezTo>
                    <a:cubicBezTo>
                      <a:pt x="274" y="1055"/>
                      <a:pt x="274" y="1055"/>
                      <a:pt x="274" y="1055"/>
                    </a:cubicBezTo>
                    <a:cubicBezTo>
                      <a:pt x="274" y="1056"/>
                      <a:pt x="274" y="1057"/>
                      <a:pt x="275" y="1058"/>
                    </a:cubicBezTo>
                    <a:cubicBezTo>
                      <a:pt x="276" y="1062"/>
                      <a:pt x="277" y="1065"/>
                      <a:pt x="278" y="1067"/>
                    </a:cubicBezTo>
                    <a:cubicBezTo>
                      <a:pt x="280" y="1074"/>
                      <a:pt x="272" y="1076"/>
                      <a:pt x="266" y="1080"/>
                    </a:cubicBezTo>
                    <a:cubicBezTo>
                      <a:pt x="260" y="1085"/>
                      <a:pt x="236" y="1077"/>
                      <a:pt x="236" y="1077"/>
                    </a:cubicBezTo>
                    <a:cubicBezTo>
                      <a:pt x="236" y="1064"/>
                      <a:pt x="236" y="1064"/>
                      <a:pt x="236" y="1064"/>
                    </a:cubicBezTo>
                    <a:cubicBezTo>
                      <a:pt x="225" y="1063"/>
                      <a:pt x="225" y="1063"/>
                      <a:pt x="225" y="1063"/>
                    </a:cubicBezTo>
                    <a:cubicBezTo>
                      <a:pt x="215" y="1040"/>
                      <a:pt x="215" y="1040"/>
                      <a:pt x="215" y="1040"/>
                    </a:cubicBezTo>
                    <a:cubicBezTo>
                      <a:pt x="215" y="1040"/>
                      <a:pt x="227" y="1035"/>
                      <a:pt x="225" y="1032"/>
                    </a:cubicBezTo>
                    <a:cubicBezTo>
                      <a:pt x="223" y="1030"/>
                      <a:pt x="207" y="1028"/>
                      <a:pt x="207" y="1028"/>
                    </a:cubicBezTo>
                    <a:cubicBezTo>
                      <a:pt x="206" y="1019"/>
                      <a:pt x="206" y="1019"/>
                      <a:pt x="206" y="1019"/>
                    </a:cubicBezTo>
                    <a:cubicBezTo>
                      <a:pt x="202" y="997"/>
                      <a:pt x="202" y="997"/>
                      <a:pt x="202" y="997"/>
                    </a:cubicBezTo>
                    <a:cubicBezTo>
                      <a:pt x="202" y="997"/>
                      <a:pt x="208" y="994"/>
                      <a:pt x="210" y="988"/>
                    </a:cubicBezTo>
                    <a:cubicBezTo>
                      <a:pt x="211" y="981"/>
                      <a:pt x="204" y="982"/>
                      <a:pt x="204" y="976"/>
                    </a:cubicBezTo>
                    <a:cubicBezTo>
                      <a:pt x="204" y="970"/>
                      <a:pt x="193" y="968"/>
                      <a:pt x="193" y="968"/>
                    </a:cubicBezTo>
                    <a:cubicBezTo>
                      <a:pt x="193" y="968"/>
                      <a:pt x="193" y="965"/>
                      <a:pt x="194" y="960"/>
                    </a:cubicBezTo>
                    <a:cubicBezTo>
                      <a:pt x="194" y="960"/>
                      <a:pt x="194" y="960"/>
                      <a:pt x="194" y="959"/>
                    </a:cubicBezTo>
                    <a:cubicBezTo>
                      <a:pt x="194" y="958"/>
                      <a:pt x="195" y="957"/>
                      <a:pt x="195" y="956"/>
                    </a:cubicBezTo>
                    <a:cubicBezTo>
                      <a:pt x="195" y="956"/>
                      <a:pt x="195" y="955"/>
                      <a:pt x="195" y="955"/>
                    </a:cubicBezTo>
                    <a:cubicBezTo>
                      <a:pt x="195" y="953"/>
                      <a:pt x="195" y="952"/>
                      <a:pt x="196" y="950"/>
                    </a:cubicBezTo>
                    <a:cubicBezTo>
                      <a:pt x="198" y="941"/>
                      <a:pt x="201" y="940"/>
                      <a:pt x="192" y="936"/>
                    </a:cubicBezTo>
                    <a:cubicBezTo>
                      <a:pt x="183" y="932"/>
                      <a:pt x="181" y="949"/>
                      <a:pt x="181" y="949"/>
                    </a:cubicBezTo>
                    <a:cubicBezTo>
                      <a:pt x="181" y="949"/>
                      <a:pt x="173" y="948"/>
                      <a:pt x="164" y="947"/>
                    </a:cubicBezTo>
                    <a:cubicBezTo>
                      <a:pt x="164" y="947"/>
                      <a:pt x="164" y="947"/>
                      <a:pt x="164" y="947"/>
                    </a:cubicBezTo>
                    <a:cubicBezTo>
                      <a:pt x="163" y="947"/>
                      <a:pt x="162" y="947"/>
                      <a:pt x="161" y="947"/>
                    </a:cubicBezTo>
                    <a:cubicBezTo>
                      <a:pt x="161" y="947"/>
                      <a:pt x="161" y="947"/>
                      <a:pt x="160" y="947"/>
                    </a:cubicBezTo>
                    <a:cubicBezTo>
                      <a:pt x="159" y="947"/>
                      <a:pt x="159" y="946"/>
                      <a:pt x="158" y="946"/>
                    </a:cubicBezTo>
                    <a:cubicBezTo>
                      <a:pt x="158" y="946"/>
                      <a:pt x="157" y="946"/>
                      <a:pt x="157" y="946"/>
                    </a:cubicBezTo>
                    <a:cubicBezTo>
                      <a:pt x="156" y="946"/>
                      <a:pt x="155" y="946"/>
                      <a:pt x="155" y="946"/>
                    </a:cubicBezTo>
                    <a:cubicBezTo>
                      <a:pt x="154" y="946"/>
                      <a:pt x="154" y="946"/>
                      <a:pt x="154" y="945"/>
                    </a:cubicBezTo>
                    <a:cubicBezTo>
                      <a:pt x="153" y="945"/>
                      <a:pt x="152" y="945"/>
                      <a:pt x="152" y="945"/>
                    </a:cubicBezTo>
                    <a:cubicBezTo>
                      <a:pt x="151" y="945"/>
                      <a:pt x="151" y="945"/>
                      <a:pt x="151" y="945"/>
                    </a:cubicBezTo>
                    <a:cubicBezTo>
                      <a:pt x="150" y="945"/>
                      <a:pt x="150" y="945"/>
                      <a:pt x="149" y="944"/>
                    </a:cubicBezTo>
                    <a:cubicBezTo>
                      <a:pt x="149" y="944"/>
                      <a:pt x="148" y="944"/>
                      <a:pt x="148" y="944"/>
                    </a:cubicBezTo>
                    <a:cubicBezTo>
                      <a:pt x="147" y="944"/>
                      <a:pt x="147" y="944"/>
                      <a:pt x="146" y="944"/>
                    </a:cubicBezTo>
                    <a:cubicBezTo>
                      <a:pt x="146" y="943"/>
                      <a:pt x="146" y="943"/>
                      <a:pt x="146" y="943"/>
                    </a:cubicBezTo>
                    <a:cubicBezTo>
                      <a:pt x="145" y="943"/>
                      <a:pt x="144" y="943"/>
                      <a:pt x="144" y="942"/>
                    </a:cubicBezTo>
                    <a:cubicBezTo>
                      <a:pt x="144" y="942"/>
                      <a:pt x="144" y="942"/>
                      <a:pt x="144" y="942"/>
                    </a:cubicBezTo>
                    <a:cubicBezTo>
                      <a:pt x="136" y="938"/>
                      <a:pt x="106" y="948"/>
                      <a:pt x="106" y="948"/>
                    </a:cubicBezTo>
                    <a:cubicBezTo>
                      <a:pt x="105" y="964"/>
                      <a:pt x="105" y="964"/>
                      <a:pt x="105" y="964"/>
                    </a:cubicBezTo>
                    <a:cubicBezTo>
                      <a:pt x="81" y="962"/>
                      <a:pt x="81" y="962"/>
                      <a:pt x="81" y="962"/>
                    </a:cubicBezTo>
                    <a:cubicBezTo>
                      <a:pt x="61" y="992"/>
                      <a:pt x="61" y="992"/>
                      <a:pt x="61" y="992"/>
                    </a:cubicBezTo>
                    <a:cubicBezTo>
                      <a:pt x="59" y="981"/>
                      <a:pt x="48" y="982"/>
                      <a:pt x="47" y="968"/>
                    </a:cubicBezTo>
                    <a:cubicBezTo>
                      <a:pt x="53" y="954"/>
                      <a:pt x="44" y="942"/>
                      <a:pt x="34" y="942"/>
                    </a:cubicBezTo>
                    <a:cubicBezTo>
                      <a:pt x="37" y="929"/>
                      <a:pt x="38" y="918"/>
                      <a:pt x="48" y="911"/>
                    </a:cubicBezTo>
                    <a:cubicBezTo>
                      <a:pt x="59" y="904"/>
                      <a:pt x="89" y="901"/>
                      <a:pt x="71" y="887"/>
                    </a:cubicBezTo>
                    <a:cubicBezTo>
                      <a:pt x="72" y="877"/>
                      <a:pt x="68" y="867"/>
                      <a:pt x="83" y="871"/>
                    </a:cubicBezTo>
                    <a:cubicBezTo>
                      <a:pt x="100" y="868"/>
                      <a:pt x="110" y="868"/>
                      <a:pt x="118" y="880"/>
                    </a:cubicBezTo>
                    <a:cubicBezTo>
                      <a:pt x="125" y="856"/>
                      <a:pt x="138" y="895"/>
                      <a:pt x="137" y="869"/>
                    </a:cubicBezTo>
                    <a:cubicBezTo>
                      <a:pt x="146" y="852"/>
                      <a:pt x="129" y="850"/>
                      <a:pt x="128" y="848"/>
                    </a:cubicBezTo>
                    <a:cubicBezTo>
                      <a:pt x="116" y="848"/>
                      <a:pt x="106" y="817"/>
                      <a:pt x="127" y="825"/>
                    </a:cubicBezTo>
                    <a:cubicBezTo>
                      <a:pt x="142" y="811"/>
                      <a:pt x="118" y="813"/>
                      <a:pt x="128" y="797"/>
                    </a:cubicBezTo>
                    <a:cubicBezTo>
                      <a:pt x="127" y="778"/>
                      <a:pt x="146" y="800"/>
                      <a:pt x="145" y="812"/>
                    </a:cubicBezTo>
                    <a:cubicBezTo>
                      <a:pt x="146" y="818"/>
                      <a:pt x="137" y="833"/>
                      <a:pt x="147" y="827"/>
                    </a:cubicBez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4" name="Freeform 9">
                <a:extLst>
                  <a:ext uri="{FF2B5EF4-FFF2-40B4-BE49-F238E27FC236}">
                    <a16:creationId xmlns:a16="http://schemas.microsoft.com/office/drawing/2014/main" id="{37EE04C9-24FB-4BED-AA33-5F7F71652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03" y="2271714"/>
                <a:ext cx="1998663" cy="1558926"/>
              </a:xfrm>
              <a:custGeom>
                <a:avLst/>
                <a:gdLst>
                  <a:gd name="T0" fmla="*/ 329 w 1192"/>
                  <a:gd name="T1" fmla="*/ 933 h 933"/>
                  <a:gd name="T2" fmla="*/ 229 w 1192"/>
                  <a:gd name="T3" fmla="*/ 838 h 933"/>
                  <a:gd name="T4" fmla="*/ 181 w 1192"/>
                  <a:gd name="T5" fmla="*/ 787 h 933"/>
                  <a:gd name="T6" fmla="*/ 123 w 1192"/>
                  <a:gd name="T7" fmla="*/ 733 h 933"/>
                  <a:gd name="T8" fmla="*/ 6 w 1192"/>
                  <a:gd name="T9" fmla="*/ 718 h 933"/>
                  <a:gd name="T10" fmla="*/ 39 w 1192"/>
                  <a:gd name="T11" fmla="*/ 673 h 933"/>
                  <a:gd name="T12" fmla="*/ 30 w 1192"/>
                  <a:gd name="T13" fmla="*/ 599 h 933"/>
                  <a:gd name="T14" fmla="*/ 72 w 1192"/>
                  <a:gd name="T15" fmla="*/ 541 h 933"/>
                  <a:gd name="T16" fmla="*/ 118 w 1192"/>
                  <a:gd name="T17" fmla="*/ 468 h 933"/>
                  <a:gd name="T18" fmla="*/ 192 w 1192"/>
                  <a:gd name="T19" fmla="*/ 479 h 933"/>
                  <a:gd name="T20" fmla="*/ 186 w 1192"/>
                  <a:gd name="T21" fmla="*/ 408 h 933"/>
                  <a:gd name="T22" fmla="*/ 231 w 1192"/>
                  <a:gd name="T23" fmla="*/ 387 h 933"/>
                  <a:gd name="T24" fmla="*/ 298 w 1192"/>
                  <a:gd name="T25" fmla="*/ 368 h 933"/>
                  <a:gd name="T26" fmla="*/ 335 w 1192"/>
                  <a:gd name="T27" fmla="*/ 301 h 933"/>
                  <a:gd name="T28" fmla="*/ 355 w 1192"/>
                  <a:gd name="T29" fmla="*/ 287 h 933"/>
                  <a:gd name="T30" fmla="*/ 449 w 1192"/>
                  <a:gd name="T31" fmla="*/ 249 h 933"/>
                  <a:gd name="T32" fmla="*/ 515 w 1192"/>
                  <a:gd name="T33" fmla="*/ 267 h 933"/>
                  <a:gd name="T34" fmla="*/ 582 w 1192"/>
                  <a:gd name="T35" fmla="*/ 289 h 933"/>
                  <a:gd name="T36" fmla="*/ 622 w 1192"/>
                  <a:gd name="T37" fmla="*/ 224 h 933"/>
                  <a:gd name="T38" fmla="*/ 681 w 1192"/>
                  <a:gd name="T39" fmla="*/ 217 h 933"/>
                  <a:gd name="T40" fmla="*/ 742 w 1192"/>
                  <a:gd name="T41" fmla="*/ 190 h 933"/>
                  <a:gd name="T42" fmla="*/ 815 w 1192"/>
                  <a:gd name="T43" fmla="*/ 171 h 933"/>
                  <a:gd name="T44" fmla="*/ 896 w 1192"/>
                  <a:gd name="T45" fmla="*/ 125 h 933"/>
                  <a:gd name="T46" fmla="*/ 912 w 1192"/>
                  <a:gd name="T47" fmla="*/ 54 h 933"/>
                  <a:gd name="T48" fmla="*/ 971 w 1192"/>
                  <a:gd name="T49" fmla="*/ 3 h 933"/>
                  <a:gd name="T50" fmla="*/ 1009 w 1192"/>
                  <a:gd name="T51" fmla="*/ 0 h 933"/>
                  <a:gd name="T52" fmla="*/ 1042 w 1192"/>
                  <a:gd name="T53" fmla="*/ 53 h 933"/>
                  <a:gd name="T54" fmla="*/ 1089 w 1192"/>
                  <a:gd name="T55" fmla="*/ 87 h 933"/>
                  <a:gd name="T56" fmla="*/ 1150 w 1192"/>
                  <a:gd name="T57" fmla="*/ 91 h 933"/>
                  <a:gd name="T58" fmla="*/ 1192 w 1192"/>
                  <a:gd name="T59" fmla="*/ 145 h 933"/>
                  <a:gd name="T60" fmla="*/ 1118 w 1192"/>
                  <a:gd name="T61" fmla="*/ 193 h 933"/>
                  <a:gd name="T62" fmla="*/ 1080 w 1192"/>
                  <a:gd name="T63" fmla="*/ 242 h 933"/>
                  <a:gd name="T64" fmla="*/ 1055 w 1192"/>
                  <a:gd name="T65" fmla="*/ 270 h 933"/>
                  <a:gd name="T66" fmla="*/ 1036 w 1192"/>
                  <a:gd name="T67" fmla="*/ 349 h 933"/>
                  <a:gd name="T68" fmla="*/ 1045 w 1192"/>
                  <a:gd name="T69" fmla="*/ 407 h 933"/>
                  <a:gd name="T70" fmla="*/ 1074 w 1192"/>
                  <a:gd name="T71" fmla="*/ 440 h 933"/>
                  <a:gd name="T72" fmla="*/ 1102 w 1192"/>
                  <a:gd name="T73" fmla="*/ 451 h 933"/>
                  <a:gd name="T74" fmla="*/ 1139 w 1192"/>
                  <a:gd name="T75" fmla="*/ 472 h 933"/>
                  <a:gd name="T76" fmla="*/ 1066 w 1192"/>
                  <a:gd name="T77" fmla="*/ 462 h 933"/>
                  <a:gd name="T78" fmla="*/ 1013 w 1192"/>
                  <a:gd name="T79" fmla="*/ 489 h 933"/>
                  <a:gd name="T80" fmla="*/ 1001 w 1192"/>
                  <a:gd name="T81" fmla="*/ 514 h 933"/>
                  <a:gd name="T82" fmla="*/ 1026 w 1192"/>
                  <a:gd name="T83" fmla="*/ 547 h 933"/>
                  <a:gd name="T84" fmla="*/ 1038 w 1192"/>
                  <a:gd name="T85" fmla="*/ 597 h 933"/>
                  <a:gd name="T86" fmla="*/ 1009 w 1192"/>
                  <a:gd name="T87" fmla="*/ 633 h 933"/>
                  <a:gd name="T88" fmla="*/ 949 w 1192"/>
                  <a:gd name="T89" fmla="*/ 682 h 933"/>
                  <a:gd name="T90" fmla="*/ 910 w 1192"/>
                  <a:gd name="T91" fmla="*/ 667 h 933"/>
                  <a:gd name="T92" fmla="*/ 860 w 1192"/>
                  <a:gd name="T93" fmla="*/ 660 h 933"/>
                  <a:gd name="T94" fmla="*/ 816 w 1192"/>
                  <a:gd name="T95" fmla="*/ 667 h 933"/>
                  <a:gd name="T96" fmla="*/ 774 w 1192"/>
                  <a:gd name="T97" fmla="*/ 710 h 933"/>
                  <a:gd name="T98" fmla="*/ 762 w 1192"/>
                  <a:gd name="T99" fmla="*/ 725 h 933"/>
                  <a:gd name="T100" fmla="*/ 695 w 1192"/>
                  <a:gd name="T101" fmla="*/ 750 h 933"/>
                  <a:gd name="T102" fmla="*/ 648 w 1192"/>
                  <a:gd name="T103" fmla="*/ 727 h 933"/>
                  <a:gd name="T104" fmla="*/ 617 w 1192"/>
                  <a:gd name="T105" fmla="*/ 725 h 933"/>
                  <a:gd name="T106" fmla="*/ 596 w 1192"/>
                  <a:gd name="T107" fmla="*/ 723 h 933"/>
                  <a:gd name="T108" fmla="*/ 567 w 1192"/>
                  <a:gd name="T109" fmla="*/ 715 h 933"/>
                  <a:gd name="T110" fmla="*/ 557 w 1192"/>
                  <a:gd name="T111" fmla="*/ 745 h 933"/>
                  <a:gd name="T112" fmla="*/ 583 w 1192"/>
                  <a:gd name="T113" fmla="*/ 821 h 933"/>
                  <a:gd name="T114" fmla="*/ 550 w 1192"/>
                  <a:gd name="T115" fmla="*/ 864 h 933"/>
                  <a:gd name="T116" fmla="*/ 476 w 1192"/>
                  <a:gd name="T117" fmla="*/ 851 h 933"/>
                  <a:gd name="T118" fmla="*/ 349 w 1192"/>
                  <a:gd name="T119" fmla="*/ 889 h 933"/>
                  <a:gd name="T120" fmla="*/ 334 w 1192"/>
                  <a:gd name="T121" fmla="*/ 923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92" h="933">
                    <a:moveTo>
                      <a:pt x="334" y="923"/>
                    </a:moveTo>
                    <a:cubicBezTo>
                      <a:pt x="334" y="932"/>
                      <a:pt x="334" y="932"/>
                      <a:pt x="334" y="932"/>
                    </a:cubicBezTo>
                    <a:cubicBezTo>
                      <a:pt x="333" y="931"/>
                      <a:pt x="332" y="931"/>
                      <a:pt x="329" y="933"/>
                    </a:cubicBezTo>
                    <a:cubicBezTo>
                      <a:pt x="318" y="920"/>
                      <a:pt x="308" y="906"/>
                      <a:pt x="295" y="895"/>
                    </a:cubicBezTo>
                    <a:cubicBezTo>
                      <a:pt x="285" y="877"/>
                      <a:pt x="273" y="901"/>
                      <a:pt x="260" y="880"/>
                    </a:cubicBezTo>
                    <a:cubicBezTo>
                      <a:pt x="250" y="866"/>
                      <a:pt x="224" y="859"/>
                      <a:pt x="229" y="838"/>
                    </a:cubicBezTo>
                    <a:cubicBezTo>
                      <a:pt x="225" y="828"/>
                      <a:pt x="231" y="804"/>
                      <a:pt x="224" y="803"/>
                    </a:cubicBezTo>
                    <a:cubicBezTo>
                      <a:pt x="212" y="819"/>
                      <a:pt x="205" y="815"/>
                      <a:pt x="193" y="802"/>
                    </a:cubicBezTo>
                    <a:cubicBezTo>
                      <a:pt x="179" y="805"/>
                      <a:pt x="184" y="795"/>
                      <a:pt x="181" y="787"/>
                    </a:cubicBezTo>
                    <a:cubicBezTo>
                      <a:pt x="171" y="787"/>
                      <a:pt x="173" y="771"/>
                      <a:pt x="180" y="769"/>
                    </a:cubicBezTo>
                    <a:cubicBezTo>
                      <a:pt x="174" y="763"/>
                      <a:pt x="176" y="746"/>
                      <a:pt x="161" y="749"/>
                    </a:cubicBezTo>
                    <a:cubicBezTo>
                      <a:pt x="146" y="749"/>
                      <a:pt x="136" y="732"/>
                      <a:pt x="123" y="733"/>
                    </a:cubicBezTo>
                    <a:cubicBezTo>
                      <a:pt x="118" y="720"/>
                      <a:pt x="97" y="726"/>
                      <a:pt x="85" y="729"/>
                    </a:cubicBezTo>
                    <a:cubicBezTo>
                      <a:pt x="73" y="735"/>
                      <a:pt x="59" y="738"/>
                      <a:pt x="44" y="734"/>
                    </a:cubicBezTo>
                    <a:cubicBezTo>
                      <a:pt x="32" y="728"/>
                      <a:pt x="13" y="731"/>
                      <a:pt x="6" y="718"/>
                    </a:cubicBezTo>
                    <a:cubicBezTo>
                      <a:pt x="0" y="709"/>
                      <a:pt x="15" y="717"/>
                      <a:pt x="15" y="709"/>
                    </a:cubicBezTo>
                    <a:cubicBezTo>
                      <a:pt x="12" y="708"/>
                      <a:pt x="18" y="704"/>
                      <a:pt x="20" y="699"/>
                    </a:cubicBezTo>
                    <a:cubicBezTo>
                      <a:pt x="36" y="707"/>
                      <a:pt x="46" y="686"/>
                      <a:pt x="39" y="673"/>
                    </a:cubicBezTo>
                    <a:cubicBezTo>
                      <a:pt x="41" y="660"/>
                      <a:pt x="33" y="649"/>
                      <a:pt x="24" y="651"/>
                    </a:cubicBezTo>
                    <a:cubicBezTo>
                      <a:pt x="12" y="660"/>
                      <a:pt x="29" y="642"/>
                      <a:pt x="28" y="634"/>
                    </a:cubicBezTo>
                    <a:cubicBezTo>
                      <a:pt x="28" y="624"/>
                      <a:pt x="37" y="607"/>
                      <a:pt x="30" y="599"/>
                    </a:cubicBezTo>
                    <a:cubicBezTo>
                      <a:pt x="30" y="598"/>
                      <a:pt x="30" y="598"/>
                      <a:pt x="30" y="598"/>
                    </a:cubicBezTo>
                    <a:cubicBezTo>
                      <a:pt x="41" y="589"/>
                      <a:pt x="45" y="569"/>
                      <a:pt x="48" y="556"/>
                    </a:cubicBezTo>
                    <a:cubicBezTo>
                      <a:pt x="58" y="556"/>
                      <a:pt x="59" y="547"/>
                      <a:pt x="72" y="541"/>
                    </a:cubicBezTo>
                    <a:cubicBezTo>
                      <a:pt x="90" y="532"/>
                      <a:pt x="89" y="523"/>
                      <a:pt x="79" y="511"/>
                    </a:cubicBezTo>
                    <a:cubicBezTo>
                      <a:pt x="71" y="495"/>
                      <a:pt x="94" y="497"/>
                      <a:pt x="104" y="503"/>
                    </a:cubicBezTo>
                    <a:cubicBezTo>
                      <a:pt x="114" y="493"/>
                      <a:pt x="124" y="485"/>
                      <a:pt x="118" y="468"/>
                    </a:cubicBezTo>
                    <a:cubicBezTo>
                      <a:pt x="127" y="464"/>
                      <a:pt x="142" y="467"/>
                      <a:pt x="150" y="477"/>
                    </a:cubicBezTo>
                    <a:cubicBezTo>
                      <a:pt x="163" y="479"/>
                      <a:pt x="154" y="505"/>
                      <a:pt x="165" y="498"/>
                    </a:cubicBezTo>
                    <a:cubicBezTo>
                      <a:pt x="173" y="491"/>
                      <a:pt x="183" y="483"/>
                      <a:pt x="192" y="479"/>
                    </a:cubicBezTo>
                    <a:cubicBezTo>
                      <a:pt x="198" y="470"/>
                      <a:pt x="194" y="464"/>
                      <a:pt x="195" y="453"/>
                    </a:cubicBezTo>
                    <a:cubicBezTo>
                      <a:pt x="192" y="447"/>
                      <a:pt x="190" y="435"/>
                      <a:pt x="189" y="429"/>
                    </a:cubicBezTo>
                    <a:cubicBezTo>
                      <a:pt x="186" y="418"/>
                      <a:pt x="181" y="414"/>
                      <a:pt x="186" y="408"/>
                    </a:cubicBezTo>
                    <a:cubicBezTo>
                      <a:pt x="192" y="404"/>
                      <a:pt x="196" y="401"/>
                      <a:pt x="201" y="396"/>
                    </a:cubicBezTo>
                    <a:cubicBezTo>
                      <a:pt x="208" y="400"/>
                      <a:pt x="214" y="405"/>
                      <a:pt x="224" y="403"/>
                    </a:cubicBezTo>
                    <a:cubicBezTo>
                      <a:pt x="231" y="399"/>
                      <a:pt x="236" y="395"/>
                      <a:pt x="231" y="387"/>
                    </a:cubicBezTo>
                    <a:cubicBezTo>
                      <a:pt x="228" y="376"/>
                      <a:pt x="237" y="374"/>
                      <a:pt x="246" y="381"/>
                    </a:cubicBezTo>
                    <a:cubicBezTo>
                      <a:pt x="257" y="380"/>
                      <a:pt x="260" y="369"/>
                      <a:pt x="268" y="373"/>
                    </a:cubicBezTo>
                    <a:cubicBezTo>
                      <a:pt x="278" y="369"/>
                      <a:pt x="288" y="375"/>
                      <a:pt x="298" y="368"/>
                    </a:cubicBezTo>
                    <a:cubicBezTo>
                      <a:pt x="307" y="364"/>
                      <a:pt x="331" y="373"/>
                      <a:pt x="332" y="361"/>
                    </a:cubicBezTo>
                    <a:cubicBezTo>
                      <a:pt x="328" y="348"/>
                      <a:pt x="330" y="330"/>
                      <a:pt x="320" y="325"/>
                    </a:cubicBezTo>
                    <a:cubicBezTo>
                      <a:pt x="334" y="316"/>
                      <a:pt x="324" y="303"/>
                      <a:pt x="335" y="301"/>
                    </a:cubicBezTo>
                    <a:cubicBezTo>
                      <a:pt x="338" y="299"/>
                      <a:pt x="344" y="299"/>
                      <a:pt x="343" y="296"/>
                    </a:cubicBezTo>
                    <a:cubicBezTo>
                      <a:pt x="351" y="302"/>
                      <a:pt x="356" y="297"/>
                      <a:pt x="356" y="289"/>
                    </a:cubicBezTo>
                    <a:cubicBezTo>
                      <a:pt x="355" y="288"/>
                      <a:pt x="355" y="287"/>
                      <a:pt x="355" y="287"/>
                    </a:cubicBezTo>
                    <a:cubicBezTo>
                      <a:pt x="355" y="280"/>
                      <a:pt x="380" y="283"/>
                      <a:pt x="388" y="283"/>
                    </a:cubicBezTo>
                    <a:cubicBezTo>
                      <a:pt x="405" y="282"/>
                      <a:pt x="422" y="282"/>
                      <a:pt x="436" y="275"/>
                    </a:cubicBezTo>
                    <a:cubicBezTo>
                      <a:pt x="453" y="275"/>
                      <a:pt x="444" y="260"/>
                      <a:pt x="449" y="249"/>
                    </a:cubicBezTo>
                    <a:cubicBezTo>
                      <a:pt x="460" y="247"/>
                      <a:pt x="466" y="258"/>
                      <a:pt x="468" y="242"/>
                    </a:cubicBezTo>
                    <a:cubicBezTo>
                      <a:pt x="480" y="239"/>
                      <a:pt x="496" y="232"/>
                      <a:pt x="507" y="239"/>
                    </a:cubicBezTo>
                    <a:cubicBezTo>
                      <a:pt x="517" y="252"/>
                      <a:pt x="496" y="264"/>
                      <a:pt x="515" y="267"/>
                    </a:cubicBezTo>
                    <a:cubicBezTo>
                      <a:pt x="513" y="280"/>
                      <a:pt x="531" y="281"/>
                      <a:pt x="529" y="294"/>
                    </a:cubicBezTo>
                    <a:cubicBezTo>
                      <a:pt x="537" y="303"/>
                      <a:pt x="542" y="302"/>
                      <a:pt x="559" y="301"/>
                    </a:cubicBezTo>
                    <a:cubicBezTo>
                      <a:pt x="578" y="309"/>
                      <a:pt x="569" y="294"/>
                      <a:pt x="582" y="289"/>
                    </a:cubicBezTo>
                    <a:cubicBezTo>
                      <a:pt x="601" y="292"/>
                      <a:pt x="601" y="281"/>
                      <a:pt x="603" y="271"/>
                    </a:cubicBezTo>
                    <a:cubicBezTo>
                      <a:pt x="624" y="269"/>
                      <a:pt x="607" y="253"/>
                      <a:pt x="608" y="242"/>
                    </a:cubicBezTo>
                    <a:cubicBezTo>
                      <a:pt x="602" y="228"/>
                      <a:pt x="630" y="240"/>
                      <a:pt x="622" y="224"/>
                    </a:cubicBezTo>
                    <a:cubicBezTo>
                      <a:pt x="613" y="208"/>
                      <a:pt x="642" y="214"/>
                      <a:pt x="636" y="200"/>
                    </a:cubicBezTo>
                    <a:cubicBezTo>
                      <a:pt x="653" y="198"/>
                      <a:pt x="647" y="197"/>
                      <a:pt x="665" y="193"/>
                    </a:cubicBezTo>
                    <a:cubicBezTo>
                      <a:pt x="678" y="198"/>
                      <a:pt x="683" y="215"/>
                      <a:pt x="681" y="217"/>
                    </a:cubicBezTo>
                    <a:cubicBezTo>
                      <a:pt x="681" y="217"/>
                      <a:pt x="680" y="217"/>
                      <a:pt x="680" y="217"/>
                    </a:cubicBezTo>
                    <a:cubicBezTo>
                      <a:pt x="680" y="218"/>
                      <a:pt x="681" y="218"/>
                      <a:pt x="681" y="217"/>
                    </a:cubicBezTo>
                    <a:cubicBezTo>
                      <a:pt x="705" y="219"/>
                      <a:pt x="726" y="203"/>
                      <a:pt x="742" y="190"/>
                    </a:cubicBezTo>
                    <a:cubicBezTo>
                      <a:pt x="760" y="177"/>
                      <a:pt x="789" y="171"/>
                      <a:pt x="808" y="160"/>
                    </a:cubicBezTo>
                    <a:cubicBezTo>
                      <a:pt x="811" y="164"/>
                      <a:pt x="813" y="168"/>
                      <a:pt x="815" y="172"/>
                    </a:cubicBezTo>
                    <a:cubicBezTo>
                      <a:pt x="815" y="171"/>
                      <a:pt x="815" y="171"/>
                      <a:pt x="815" y="171"/>
                    </a:cubicBezTo>
                    <a:cubicBezTo>
                      <a:pt x="817" y="171"/>
                      <a:pt x="821" y="170"/>
                      <a:pt x="825" y="167"/>
                    </a:cubicBezTo>
                    <a:cubicBezTo>
                      <a:pt x="837" y="160"/>
                      <a:pt x="846" y="143"/>
                      <a:pt x="862" y="148"/>
                    </a:cubicBezTo>
                    <a:cubicBezTo>
                      <a:pt x="878" y="148"/>
                      <a:pt x="891" y="139"/>
                      <a:pt x="896" y="125"/>
                    </a:cubicBezTo>
                    <a:cubicBezTo>
                      <a:pt x="904" y="110"/>
                      <a:pt x="890" y="95"/>
                      <a:pt x="895" y="79"/>
                    </a:cubicBezTo>
                    <a:cubicBezTo>
                      <a:pt x="902" y="73"/>
                      <a:pt x="915" y="62"/>
                      <a:pt x="911" y="54"/>
                    </a:cubicBezTo>
                    <a:cubicBezTo>
                      <a:pt x="912" y="54"/>
                      <a:pt x="912" y="54"/>
                      <a:pt x="912" y="54"/>
                    </a:cubicBezTo>
                    <a:cubicBezTo>
                      <a:pt x="921" y="47"/>
                      <a:pt x="921" y="47"/>
                      <a:pt x="921" y="47"/>
                    </a:cubicBezTo>
                    <a:cubicBezTo>
                      <a:pt x="934" y="47"/>
                      <a:pt x="934" y="47"/>
                      <a:pt x="934" y="47"/>
                    </a:cubicBezTo>
                    <a:cubicBezTo>
                      <a:pt x="971" y="3"/>
                      <a:pt x="971" y="3"/>
                      <a:pt x="971" y="3"/>
                    </a:cubicBezTo>
                    <a:cubicBezTo>
                      <a:pt x="985" y="0"/>
                      <a:pt x="985" y="0"/>
                      <a:pt x="985" y="0"/>
                    </a:cubicBezTo>
                    <a:cubicBezTo>
                      <a:pt x="998" y="3"/>
                      <a:pt x="998" y="3"/>
                      <a:pt x="998" y="3"/>
                    </a:cubicBezTo>
                    <a:cubicBezTo>
                      <a:pt x="1009" y="0"/>
                      <a:pt x="1009" y="0"/>
                      <a:pt x="1009" y="0"/>
                    </a:cubicBezTo>
                    <a:cubicBezTo>
                      <a:pt x="1009" y="0"/>
                      <a:pt x="1026" y="6"/>
                      <a:pt x="1028" y="11"/>
                    </a:cubicBezTo>
                    <a:cubicBezTo>
                      <a:pt x="1029" y="16"/>
                      <a:pt x="1030" y="42"/>
                      <a:pt x="1030" y="42"/>
                    </a:cubicBezTo>
                    <a:cubicBezTo>
                      <a:pt x="1042" y="53"/>
                      <a:pt x="1042" y="53"/>
                      <a:pt x="1042" y="53"/>
                    </a:cubicBezTo>
                    <a:cubicBezTo>
                      <a:pt x="1042" y="53"/>
                      <a:pt x="1038" y="85"/>
                      <a:pt x="1049" y="83"/>
                    </a:cubicBezTo>
                    <a:cubicBezTo>
                      <a:pt x="1060" y="82"/>
                      <a:pt x="1066" y="82"/>
                      <a:pt x="1072" y="86"/>
                    </a:cubicBezTo>
                    <a:cubicBezTo>
                      <a:pt x="1078" y="89"/>
                      <a:pt x="1083" y="91"/>
                      <a:pt x="1089" y="87"/>
                    </a:cubicBezTo>
                    <a:cubicBezTo>
                      <a:pt x="1095" y="83"/>
                      <a:pt x="1099" y="81"/>
                      <a:pt x="1105" y="83"/>
                    </a:cubicBezTo>
                    <a:cubicBezTo>
                      <a:pt x="1111" y="86"/>
                      <a:pt x="1120" y="91"/>
                      <a:pt x="1125" y="91"/>
                    </a:cubicBezTo>
                    <a:cubicBezTo>
                      <a:pt x="1130" y="91"/>
                      <a:pt x="1150" y="91"/>
                      <a:pt x="1150" y="91"/>
                    </a:cubicBezTo>
                    <a:cubicBezTo>
                      <a:pt x="1172" y="118"/>
                      <a:pt x="1172" y="118"/>
                      <a:pt x="1172" y="118"/>
                    </a:cubicBezTo>
                    <a:cubicBezTo>
                      <a:pt x="1182" y="126"/>
                      <a:pt x="1182" y="126"/>
                      <a:pt x="1182" y="126"/>
                    </a:cubicBezTo>
                    <a:cubicBezTo>
                      <a:pt x="1192" y="145"/>
                      <a:pt x="1192" y="145"/>
                      <a:pt x="1192" y="145"/>
                    </a:cubicBezTo>
                    <a:cubicBezTo>
                      <a:pt x="1166" y="163"/>
                      <a:pt x="1166" y="163"/>
                      <a:pt x="1166" y="163"/>
                    </a:cubicBezTo>
                    <a:cubicBezTo>
                      <a:pt x="1156" y="173"/>
                      <a:pt x="1156" y="173"/>
                      <a:pt x="1156" y="173"/>
                    </a:cubicBezTo>
                    <a:cubicBezTo>
                      <a:pt x="1118" y="193"/>
                      <a:pt x="1118" y="193"/>
                      <a:pt x="1118" y="193"/>
                    </a:cubicBezTo>
                    <a:cubicBezTo>
                      <a:pt x="1095" y="212"/>
                      <a:pt x="1095" y="212"/>
                      <a:pt x="1095" y="212"/>
                    </a:cubicBezTo>
                    <a:cubicBezTo>
                      <a:pt x="1086" y="231"/>
                      <a:pt x="1086" y="231"/>
                      <a:pt x="1086" y="231"/>
                    </a:cubicBezTo>
                    <a:cubicBezTo>
                      <a:pt x="1080" y="242"/>
                      <a:pt x="1080" y="242"/>
                      <a:pt x="1080" y="242"/>
                    </a:cubicBezTo>
                    <a:cubicBezTo>
                      <a:pt x="1077" y="245"/>
                      <a:pt x="1077" y="245"/>
                      <a:pt x="1077" y="245"/>
                    </a:cubicBezTo>
                    <a:cubicBezTo>
                      <a:pt x="1056" y="269"/>
                      <a:pt x="1056" y="269"/>
                      <a:pt x="1056" y="269"/>
                    </a:cubicBezTo>
                    <a:cubicBezTo>
                      <a:pt x="1055" y="270"/>
                      <a:pt x="1055" y="270"/>
                      <a:pt x="1055" y="270"/>
                    </a:cubicBezTo>
                    <a:cubicBezTo>
                      <a:pt x="1046" y="294"/>
                      <a:pt x="1046" y="294"/>
                      <a:pt x="1046" y="294"/>
                    </a:cubicBezTo>
                    <a:cubicBezTo>
                      <a:pt x="1039" y="334"/>
                      <a:pt x="1039" y="334"/>
                      <a:pt x="1039" y="334"/>
                    </a:cubicBezTo>
                    <a:cubicBezTo>
                      <a:pt x="1036" y="349"/>
                      <a:pt x="1036" y="349"/>
                      <a:pt x="1036" y="349"/>
                    </a:cubicBezTo>
                    <a:cubicBezTo>
                      <a:pt x="1035" y="356"/>
                      <a:pt x="1035" y="356"/>
                      <a:pt x="1035" y="356"/>
                    </a:cubicBezTo>
                    <a:cubicBezTo>
                      <a:pt x="1035" y="379"/>
                      <a:pt x="1035" y="379"/>
                      <a:pt x="1035" y="379"/>
                    </a:cubicBezTo>
                    <a:cubicBezTo>
                      <a:pt x="1045" y="407"/>
                      <a:pt x="1045" y="407"/>
                      <a:pt x="1045" y="407"/>
                    </a:cubicBezTo>
                    <a:cubicBezTo>
                      <a:pt x="1059" y="425"/>
                      <a:pt x="1059" y="425"/>
                      <a:pt x="1059" y="425"/>
                    </a:cubicBezTo>
                    <a:cubicBezTo>
                      <a:pt x="1059" y="426"/>
                      <a:pt x="1059" y="426"/>
                      <a:pt x="1059" y="426"/>
                    </a:cubicBezTo>
                    <a:cubicBezTo>
                      <a:pt x="1074" y="440"/>
                      <a:pt x="1074" y="440"/>
                      <a:pt x="1074" y="440"/>
                    </a:cubicBezTo>
                    <a:cubicBezTo>
                      <a:pt x="1081" y="442"/>
                      <a:pt x="1081" y="442"/>
                      <a:pt x="1081" y="442"/>
                    </a:cubicBezTo>
                    <a:cubicBezTo>
                      <a:pt x="1099" y="450"/>
                      <a:pt x="1099" y="450"/>
                      <a:pt x="1099" y="450"/>
                    </a:cubicBezTo>
                    <a:cubicBezTo>
                      <a:pt x="1102" y="451"/>
                      <a:pt x="1102" y="451"/>
                      <a:pt x="1102" y="451"/>
                    </a:cubicBezTo>
                    <a:cubicBezTo>
                      <a:pt x="1113" y="452"/>
                      <a:pt x="1113" y="452"/>
                      <a:pt x="1113" y="452"/>
                    </a:cubicBezTo>
                    <a:cubicBezTo>
                      <a:pt x="1126" y="459"/>
                      <a:pt x="1126" y="459"/>
                      <a:pt x="1126" y="459"/>
                    </a:cubicBezTo>
                    <a:cubicBezTo>
                      <a:pt x="1139" y="472"/>
                      <a:pt x="1139" y="472"/>
                      <a:pt x="1139" y="472"/>
                    </a:cubicBezTo>
                    <a:cubicBezTo>
                      <a:pt x="1101" y="475"/>
                      <a:pt x="1101" y="475"/>
                      <a:pt x="1101" y="475"/>
                    </a:cubicBezTo>
                    <a:cubicBezTo>
                      <a:pt x="1068" y="478"/>
                      <a:pt x="1068" y="478"/>
                      <a:pt x="1068" y="478"/>
                    </a:cubicBezTo>
                    <a:cubicBezTo>
                      <a:pt x="1066" y="462"/>
                      <a:pt x="1066" y="462"/>
                      <a:pt x="1066" y="462"/>
                    </a:cubicBezTo>
                    <a:cubicBezTo>
                      <a:pt x="1057" y="462"/>
                      <a:pt x="1057" y="462"/>
                      <a:pt x="1057" y="462"/>
                    </a:cubicBezTo>
                    <a:cubicBezTo>
                      <a:pt x="1057" y="462"/>
                      <a:pt x="1047" y="469"/>
                      <a:pt x="1036" y="469"/>
                    </a:cubicBezTo>
                    <a:cubicBezTo>
                      <a:pt x="1025" y="469"/>
                      <a:pt x="1013" y="489"/>
                      <a:pt x="1013" y="489"/>
                    </a:cubicBezTo>
                    <a:cubicBezTo>
                      <a:pt x="1011" y="500"/>
                      <a:pt x="1011" y="500"/>
                      <a:pt x="1011" y="500"/>
                    </a:cubicBezTo>
                    <a:cubicBezTo>
                      <a:pt x="998" y="507"/>
                      <a:pt x="998" y="507"/>
                      <a:pt x="998" y="507"/>
                    </a:cubicBezTo>
                    <a:cubicBezTo>
                      <a:pt x="1001" y="514"/>
                      <a:pt x="1001" y="514"/>
                      <a:pt x="1001" y="514"/>
                    </a:cubicBezTo>
                    <a:cubicBezTo>
                      <a:pt x="1018" y="514"/>
                      <a:pt x="1018" y="514"/>
                      <a:pt x="1018" y="514"/>
                    </a:cubicBezTo>
                    <a:cubicBezTo>
                      <a:pt x="1018" y="514"/>
                      <a:pt x="1018" y="514"/>
                      <a:pt x="1020" y="520"/>
                    </a:cubicBezTo>
                    <a:cubicBezTo>
                      <a:pt x="1023" y="526"/>
                      <a:pt x="1026" y="534"/>
                      <a:pt x="1026" y="547"/>
                    </a:cubicBezTo>
                    <a:cubicBezTo>
                      <a:pt x="1026" y="560"/>
                      <a:pt x="1032" y="571"/>
                      <a:pt x="1037" y="577"/>
                    </a:cubicBezTo>
                    <a:cubicBezTo>
                      <a:pt x="1042" y="583"/>
                      <a:pt x="1050" y="602"/>
                      <a:pt x="1050" y="602"/>
                    </a:cubicBezTo>
                    <a:cubicBezTo>
                      <a:pt x="1038" y="597"/>
                      <a:pt x="1038" y="597"/>
                      <a:pt x="1038" y="597"/>
                    </a:cubicBezTo>
                    <a:cubicBezTo>
                      <a:pt x="1032" y="606"/>
                      <a:pt x="1032" y="606"/>
                      <a:pt x="1032" y="606"/>
                    </a:cubicBezTo>
                    <a:cubicBezTo>
                      <a:pt x="1015" y="606"/>
                      <a:pt x="1015" y="606"/>
                      <a:pt x="1015" y="606"/>
                    </a:cubicBezTo>
                    <a:cubicBezTo>
                      <a:pt x="1009" y="633"/>
                      <a:pt x="1009" y="633"/>
                      <a:pt x="1009" y="633"/>
                    </a:cubicBezTo>
                    <a:cubicBezTo>
                      <a:pt x="986" y="682"/>
                      <a:pt x="986" y="682"/>
                      <a:pt x="986" y="682"/>
                    </a:cubicBezTo>
                    <a:cubicBezTo>
                      <a:pt x="986" y="682"/>
                      <a:pt x="973" y="678"/>
                      <a:pt x="967" y="677"/>
                    </a:cubicBezTo>
                    <a:cubicBezTo>
                      <a:pt x="961" y="676"/>
                      <a:pt x="949" y="682"/>
                      <a:pt x="949" y="682"/>
                    </a:cubicBezTo>
                    <a:cubicBezTo>
                      <a:pt x="934" y="667"/>
                      <a:pt x="934" y="667"/>
                      <a:pt x="934" y="667"/>
                    </a:cubicBezTo>
                    <a:cubicBezTo>
                      <a:pt x="923" y="663"/>
                      <a:pt x="923" y="663"/>
                      <a:pt x="923" y="663"/>
                    </a:cubicBezTo>
                    <a:cubicBezTo>
                      <a:pt x="910" y="667"/>
                      <a:pt x="910" y="667"/>
                      <a:pt x="910" y="667"/>
                    </a:cubicBezTo>
                    <a:cubicBezTo>
                      <a:pt x="910" y="667"/>
                      <a:pt x="909" y="659"/>
                      <a:pt x="903" y="658"/>
                    </a:cubicBezTo>
                    <a:cubicBezTo>
                      <a:pt x="897" y="657"/>
                      <a:pt x="886" y="666"/>
                      <a:pt x="878" y="671"/>
                    </a:cubicBezTo>
                    <a:cubicBezTo>
                      <a:pt x="869" y="676"/>
                      <a:pt x="860" y="660"/>
                      <a:pt x="860" y="660"/>
                    </a:cubicBezTo>
                    <a:cubicBezTo>
                      <a:pt x="844" y="666"/>
                      <a:pt x="844" y="666"/>
                      <a:pt x="844" y="666"/>
                    </a:cubicBezTo>
                    <a:cubicBezTo>
                      <a:pt x="838" y="654"/>
                      <a:pt x="838" y="654"/>
                      <a:pt x="838" y="654"/>
                    </a:cubicBezTo>
                    <a:cubicBezTo>
                      <a:pt x="816" y="667"/>
                      <a:pt x="816" y="667"/>
                      <a:pt x="816" y="667"/>
                    </a:cubicBezTo>
                    <a:cubicBezTo>
                      <a:pt x="771" y="691"/>
                      <a:pt x="771" y="691"/>
                      <a:pt x="771" y="691"/>
                    </a:cubicBezTo>
                    <a:cubicBezTo>
                      <a:pt x="778" y="703"/>
                      <a:pt x="778" y="703"/>
                      <a:pt x="778" y="703"/>
                    </a:cubicBezTo>
                    <a:cubicBezTo>
                      <a:pt x="774" y="710"/>
                      <a:pt x="774" y="710"/>
                      <a:pt x="774" y="710"/>
                    </a:cubicBezTo>
                    <a:cubicBezTo>
                      <a:pt x="791" y="731"/>
                      <a:pt x="791" y="731"/>
                      <a:pt x="791" y="731"/>
                    </a:cubicBezTo>
                    <a:cubicBezTo>
                      <a:pt x="775" y="745"/>
                      <a:pt x="775" y="745"/>
                      <a:pt x="775" y="745"/>
                    </a:cubicBezTo>
                    <a:cubicBezTo>
                      <a:pt x="762" y="725"/>
                      <a:pt x="762" y="725"/>
                      <a:pt x="762" y="725"/>
                    </a:cubicBezTo>
                    <a:cubicBezTo>
                      <a:pt x="762" y="725"/>
                      <a:pt x="746" y="733"/>
                      <a:pt x="734" y="734"/>
                    </a:cubicBezTo>
                    <a:cubicBezTo>
                      <a:pt x="722" y="735"/>
                      <a:pt x="714" y="752"/>
                      <a:pt x="714" y="752"/>
                    </a:cubicBezTo>
                    <a:cubicBezTo>
                      <a:pt x="706" y="758"/>
                      <a:pt x="698" y="752"/>
                      <a:pt x="695" y="750"/>
                    </a:cubicBezTo>
                    <a:cubicBezTo>
                      <a:pt x="691" y="747"/>
                      <a:pt x="670" y="742"/>
                      <a:pt x="670" y="742"/>
                    </a:cubicBezTo>
                    <a:cubicBezTo>
                      <a:pt x="659" y="728"/>
                      <a:pt x="659" y="728"/>
                      <a:pt x="659" y="728"/>
                    </a:cubicBezTo>
                    <a:cubicBezTo>
                      <a:pt x="648" y="727"/>
                      <a:pt x="648" y="727"/>
                      <a:pt x="648" y="727"/>
                    </a:cubicBezTo>
                    <a:cubicBezTo>
                      <a:pt x="649" y="739"/>
                      <a:pt x="649" y="739"/>
                      <a:pt x="649" y="739"/>
                    </a:cubicBezTo>
                    <a:cubicBezTo>
                      <a:pt x="632" y="733"/>
                      <a:pt x="632" y="733"/>
                      <a:pt x="632" y="733"/>
                    </a:cubicBezTo>
                    <a:cubicBezTo>
                      <a:pt x="617" y="725"/>
                      <a:pt x="617" y="725"/>
                      <a:pt x="617" y="725"/>
                    </a:cubicBezTo>
                    <a:cubicBezTo>
                      <a:pt x="618" y="738"/>
                      <a:pt x="618" y="738"/>
                      <a:pt x="618" y="738"/>
                    </a:cubicBezTo>
                    <a:cubicBezTo>
                      <a:pt x="618" y="738"/>
                      <a:pt x="618" y="748"/>
                      <a:pt x="607" y="746"/>
                    </a:cubicBezTo>
                    <a:cubicBezTo>
                      <a:pt x="595" y="744"/>
                      <a:pt x="596" y="723"/>
                      <a:pt x="596" y="723"/>
                    </a:cubicBezTo>
                    <a:cubicBezTo>
                      <a:pt x="584" y="725"/>
                      <a:pt x="584" y="725"/>
                      <a:pt x="584" y="725"/>
                    </a:cubicBezTo>
                    <a:cubicBezTo>
                      <a:pt x="574" y="711"/>
                      <a:pt x="574" y="711"/>
                      <a:pt x="574" y="711"/>
                    </a:cubicBezTo>
                    <a:cubicBezTo>
                      <a:pt x="567" y="715"/>
                      <a:pt x="567" y="715"/>
                      <a:pt x="567" y="715"/>
                    </a:cubicBezTo>
                    <a:cubicBezTo>
                      <a:pt x="567" y="715"/>
                      <a:pt x="573" y="722"/>
                      <a:pt x="573" y="729"/>
                    </a:cubicBezTo>
                    <a:cubicBezTo>
                      <a:pt x="573" y="736"/>
                      <a:pt x="558" y="734"/>
                      <a:pt x="558" y="734"/>
                    </a:cubicBezTo>
                    <a:cubicBezTo>
                      <a:pt x="557" y="745"/>
                      <a:pt x="557" y="745"/>
                      <a:pt x="557" y="745"/>
                    </a:cubicBezTo>
                    <a:cubicBezTo>
                      <a:pt x="557" y="745"/>
                      <a:pt x="548" y="751"/>
                      <a:pt x="543" y="753"/>
                    </a:cubicBezTo>
                    <a:cubicBezTo>
                      <a:pt x="539" y="755"/>
                      <a:pt x="552" y="771"/>
                      <a:pt x="552" y="771"/>
                    </a:cubicBezTo>
                    <a:cubicBezTo>
                      <a:pt x="583" y="821"/>
                      <a:pt x="583" y="821"/>
                      <a:pt x="583" y="821"/>
                    </a:cubicBezTo>
                    <a:cubicBezTo>
                      <a:pt x="577" y="825"/>
                      <a:pt x="577" y="825"/>
                      <a:pt x="577" y="825"/>
                    </a:cubicBezTo>
                    <a:cubicBezTo>
                      <a:pt x="571" y="830"/>
                      <a:pt x="573" y="844"/>
                      <a:pt x="565" y="837"/>
                    </a:cubicBezTo>
                    <a:cubicBezTo>
                      <a:pt x="555" y="837"/>
                      <a:pt x="553" y="858"/>
                      <a:pt x="550" y="864"/>
                    </a:cubicBezTo>
                    <a:cubicBezTo>
                      <a:pt x="567" y="877"/>
                      <a:pt x="534" y="872"/>
                      <a:pt x="537" y="855"/>
                    </a:cubicBezTo>
                    <a:cubicBezTo>
                      <a:pt x="538" y="841"/>
                      <a:pt x="523" y="830"/>
                      <a:pt x="508" y="833"/>
                    </a:cubicBezTo>
                    <a:cubicBezTo>
                      <a:pt x="497" y="828"/>
                      <a:pt x="497" y="856"/>
                      <a:pt x="476" y="851"/>
                    </a:cubicBezTo>
                    <a:cubicBezTo>
                      <a:pt x="457" y="861"/>
                      <a:pt x="435" y="877"/>
                      <a:pt x="416" y="891"/>
                    </a:cubicBezTo>
                    <a:cubicBezTo>
                      <a:pt x="406" y="908"/>
                      <a:pt x="389" y="901"/>
                      <a:pt x="381" y="894"/>
                    </a:cubicBezTo>
                    <a:cubicBezTo>
                      <a:pt x="372" y="916"/>
                      <a:pt x="358" y="894"/>
                      <a:pt x="349" y="889"/>
                    </a:cubicBezTo>
                    <a:cubicBezTo>
                      <a:pt x="332" y="894"/>
                      <a:pt x="353" y="901"/>
                      <a:pt x="342" y="904"/>
                    </a:cubicBezTo>
                    <a:cubicBezTo>
                      <a:pt x="336" y="909"/>
                      <a:pt x="343" y="916"/>
                      <a:pt x="334" y="912"/>
                    </a:cubicBezTo>
                    <a:cubicBezTo>
                      <a:pt x="337" y="921"/>
                      <a:pt x="331" y="914"/>
                      <a:pt x="334" y="923"/>
                    </a:cubicBezTo>
                    <a:close/>
                  </a:path>
                </a:pathLst>
              </a:custGeom>
              <a:solidFill>
                <a:srgbClr val="9393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5" name="Freeform 10">
                <a:extLst>
                  <a:ext uri="{FF2B5EF4-FFF2-40B4-BE49-F238E27FC236}">
                    <a16:creationId xmlns:a16="http://schemas.microsoft.com/office/drawing/2014/main" id="{BB118D61-FCFF-467A-8C36-5A919737A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28203" y="1225551"/>
                <a:ext cx="2209801" cy="1287463"/>
              </a:xfrm>
              <a:custGeom>
                <a:avLst/>
                <a:gdLst>
                  <a:gd name="T0" fmla="*/ 1318 w 1318"/>
                  <a:gd name="T1" fmla="*/ 147 h 770"/>
                  <a:gd name="T2" fmla="*/ 1309 w 1318"/>
                  <a:gd name="T3" fmla="*/ 181 h 770"/>
                  <a:gd name="T4" fmla="*/ 1250 w 1318"/>
                  <a:gd name="T5" fmla="*/ 200 h 770"/>
                  <a:gd name="T6" fmla="*/ 1250 w 1318"/>
                  <a:gd name="T7" fmla="*/ 217 h 770"/>
                  <a:gd name="T8" fmla="*/ 1254 w 1318"/>
                  <a:gd name="T9" fmla="*/ 239 h 770"/>
                  <a:gd name="T10" fmla="*/ 1200 w 1318"/>
                  <a:gd name="T11" fmla="*/ 255 h 770"/>
                  <a:gd name="T12" fmla="*/ 1136 w 1318"/>
                  <a:gd name="T13" fmla="*/ 293 h 770"/>
                  <a:gd name="T14" fmla="*/ 1083 w 1318"/>
                  <a:gd name="T15" fmla="*/ 318 h 770"/>
                  <a:gd name="T16" fmla="*/ 1065 w 1318"/>
                  <a:gd name="T17" fmla="*/ 340 h 770"/>
                  <a:gd name="T18" fmla="*/ 1052 w 1318"/>
                  <a:gd name="T19" fmla="*/ 358 h 770"/>
                  <a:gd name="T20" fmla="*/ 1055 w 1318"/>
                  <a:gd name="T21" fmla="*/ 389 h 770"/>
                  <a:gd name="T22" fmla="*/ 1042 w 1318"/>
                  <a:gd name="T23" fmla="*/ 434 h 770"/>
                  <a:gd name="T24" fmla="*/ 1021 w 1318"/>
                  <a:gd name="T25" fmla="*/ 472 h 770"/>
                  <a:gd name="T26" fmla="*/ 985 w 1318"/>
                  <a:gd name="T27" fmla="*/ 510 h 770"/>
                  <a:gd name="T28" fmla="*/ 967 w 1318"/>
                  <a:gd name="T29" fmla="*/ 542 h 770"/>
                  <a:gd name="T30" fmla="*/ 957 w 1318"/>
                  <a:gd name="T31" fmla="*/ 585 h 770"/>
                  <a:gd name="T32" fmla="*/ 943 w 1318"/>
                  <a:gd name="T33" fmla="*/ 624 h 770"/>
                  <a:gd name="T34" fmla="*/ 923 w 1318"/>
                  <a:gd name="T35" fmla="*/ 673 h 770"/>
                  <a:gd name="T36" fmla="*/ 920 w 1318"/>
                  <a:gd name="T37" fmla="*/ 687 h 770"/>
                  <a:gd name="T38" fmla="*/ 917 w 1318"/>
                  <a:gd name="T39" fmla="*/ 718 h 770"/>
                  <a:gd name="T40" fmla="*/ 906 w 1318"/>
                  <a:gd name="T41" fmla="*/ 732 h 770"/>
                  <a:gd name="T42" fmla="*/ 867 w 1318"/>
                  <a:gd name="T43" fmla="*/ 720 h 770"/>
                  <a:gd name="T44" fmla="*/ 789 w 1318"/>
                  <a:gd name="T45" fmla="*/ 714 h 770"/>
                  <a:gd name="T46" fmla="*/ 641 w 1318"/>
                  <a:gd name="T47" fmla="*/ 709 h 770"/>
                  <a:gd name="T48" fmla="*/ 494 w 1318"/>
                  <a:gd name="T49" fmla="*/ 740 h 770"/>
                  <a:gd name="T50" fmla="*/ 441 w 1318"/>
                  <a:gd name="T51" fmla="*/ 752 h 770"/>
                  <a:gd name="T52" fmla="*/ 389 w 1318"/>
                  <a:gd name="T53" fmla="*/ 770 h 770"/>
                  <a:gd name="T54" fmla="*/ 322 w 1318"/>
                  <a:gd name="T55" fmla="*/ 716 h 770"/>
                  <a:gd name="T56" fmla="*/ 246 w 1318"/>
                  <a:gd name="T57" fmla="*/ 708 h 770"/>
                  <a:gd name="T58" fmla="*/ 206 w 1318"/>
                  <a:gd name="T59" fmla="*/ 625 h 770"/>
                  <a:gd name="T60" fmla="*/ 131 w 1318"/>
                  <a:gd name="T61" fmla="*/ 672 h 770"/>
                  <a:gd name="T62" fmla="*/ 97 w 1318"/>
                  <a:gd name="T63" fmla="*/ 673 h 770"/>
                  <a:gd name="T64" fmla="*/ 182 w 1318"/>
                  <a:gd name="T65" fmla="*/ 509 h 770"/>
                  <a:gd name="T66" fmla="*/ 197 w 1318"/>
                  <a:gd name="T67" fmla="*/ 435 h 770"/>
                  <a:gd name="T68" fmla="*/ 124 w 1318"/>
                  <a:gd name="T69" fmla="*/ 315 h 770"/>
                  <a:gd name="T70" fmla="*/ 34 w 1318"/>
                  <a:gd name="T71" fmla="*/ 269 h 770"/>
                  <a:gd name="T72" fmla="*/ 80 w 1318"/>
                  <a:gd name="T73" fmla="*/ 180 h 770"/>
                  <a:gd name="T74" fmla="*/ 33 w 1318"/>
                  <a:gd name="T75" fmla="*/ 139 h 770"/>
                  <a:gd name="T76" fmla="*/ 74 w 1318"/>
                  <a:gd name="T77" fmla="*/ 88 h 770"/>
                  <a:gd name="T78" fmla="*/ 136 w 1318"/>
                  <a:gd name="T79" fmla="*/ 104 h 770"/>
                  <a:gd name="T80" fmla="*/ 214 w 1318"/>
                  <a:gd name="T81" fmla="*/ 39 h 770"/>
                  <a:gd name="T82" fmla="*/ 304 w 1318"/>
                  <a:gd name="T83" fmla="*/ 47 h 770"/>
                  <a:gd name="T84" fmla="*/ 435 w 1318"/>
                  <a:gd name="T85" fmla="*/ 41 h 770"/>
                  <a:gd name="T86" fmla="*/ 680 w 1318"/>
                  <a:gd name="T87" fmla="*/ 47 h 770"/>
                  <a:gd name="T88" fmla="*/ 783 w 1318"/>
                  <a:gd name="T89" fmla="*/ 79 h 770"/>
                  <a:gd name="T90" fmla="*/ 895 w 1318"/>
                  <a:gd name="T91" fmla="*/ 84 h 770"/>
                  <a:gd name="T92" fmla="*/ 941 w 1318"/>
                  <a:gd name="T93" fmla="*/ 104 h 770"/>
                  <a:gd name="T94" fmla="*/ 1002 w 1318"/>
                  <a:gd name="T95" fmla="*/ 109 h 770"/>
                  <a:gd name="T96" fmla="*/ 1059 w 1318"/>
                  <a:gd name="T97" fmla="*/ 102 h 770"/>
                  <a:gd name="T98" fmla="*/ 1159 w 1318"/>
                  <a:gd name="T99" fmla="*/ 31 h 770"/>
                  <a:gd name="T100" fmla="*/ 1223 w 1318"/>
                  <a:gd name="T101" fmla="*/ 28 h 770"/>
                  <a:gd name="T102" fmla="*/ 1238 w 1318"/>
                  <a:gd name="T103" fmla="*/ 39 h 770"/>
                  <a:gd name="T104" fmla="*/ 1267 w 1318"/>
                  <a:gd name="T105" fmla="*/ 68 h 770"/>
                  <a:gd name="T106" fmla="*/ 1289 w 1318"/>
                  <a:gd name="T107" fmla="*/ 90 h 770"/>
                  <a:gd name="T108" fmla="*/ 1306 w 1318"/>
                  <a:gd name="T109" fmla="*/ 107 h 770"/>
                  <a:gd name="T110" fmla="*/ 1316 w 1318"/>
                  <a:gd name="T111" fmla="*/ 128 h 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18" h="770">
                    <a:moveTo>
                      <a:pt x="1316" y="128"/>
                    </a:moveTo>
                    <a:cubicBezTo>
                      <a:pt x="1318" y="140"/>
                      <a:pt x="1318" y="140"/>
                      <a:pt x="1318" y="140"/>
                    </a:cubicBezTo>
                    <a:cubicBezTo>
                      <a:pt x="1318" y="145"/>
                      <a:pt x="1318" y="145"/>
                      <a:pt x="1318" y="145"/>
                    </a:cubicBezTo>
                    <a:cubicBezTo>
                      <a:pt x="1318" y="147"/>
                      <a:pt x="1318" y="147"/>
                      <a:pt x="1318" y="147"/>
                    </a:cubicBezTo>
                    <a:cubicBezTo>
                      <a:pt x="1317" y="159"/>
                      <a:pt x="1317" y="159"/>
                      <a:pt x="1317" y="159"/>
                    </a:cubicBezTo>
                    <a:cubicBezTo>
                      <a:pt x="1314" y="170"/>
                      <a:pt x="1314" y="170"/>
                      <a:pt x="1314" y="170"/>
                    </a:cubicBezTo>
                    <a:cubicBezTo>
                      <a:pt x="1312" y="173"/>
                      <a:pt x="1312" y="173"/>
                      <a:pt x="1312" y="173"/>
                    </a:cubicBezTo>
                    <a:cubicBezTo>
                      <a:pt x="1309" y="181"/>
                      <a:pt x="1309" y="181"/>
                      <a:pt x="1309" y="181"/>
                    </a:cubicBezTo>
                    <a:cubicBezTo>
                      <a:pt x="1309" y="181"/>
                      <a:pt x="1309" y="181"/>
                      <a:pt x="1309" y="181"/>
                    </a:cubicBezTo>
                    <a:cubicBezTo>
                      <a:pt x="1261" y="195"/>
                      <a:pt x="1261" y="195"/>
                      <a:pt x="1261" y="195"/>
                    </a:cubicBezTo>
                    <a:cubicBezTo>
                      <a:pt x="1257" y="200"/>
                      <a:pt x="1257" y="200"/>
                      <a:pt x="1257" y="200"/>
                    </a:cubicBezTo>
                    <a:cubicBezTo>
                      <a:pt x="1250" y="200"/>
                      <a:pt x="1250" y="200"/>
                      <a:pt x="1250" y="200"/>
                    </a:cubicBezTo>
                    <a:cubicBezTo>
                      <a:pt x="1249" y="186"/>
                      <a:pt x="1249" y="186"/>
                      <a:pt x="1249" y="186"/>
                    </a:cubicBezTo>
                    <a:cubicBezTo>
                      <a:pt x="1215" y="194"/>
                      <a:pt x="1215" y="194"/>
                      <a:pt x="1215" y="194"/>
                    </a:cubicBezTo>
                    <a:cubicBezTo>
                      <a:pt x="1213" y="212"/>
                      <a:pt x="1213" y="212"/>
                      <a:pt x="1213" y="212"/>
                    </a:cubicBezTo>
                    <a:cubicBezTo>
                      <a:pt x="1250" y="217"/>
                      <a:pt x="1250" y="217"/>
                      <a:pt x="1250" y="217"/>
                    </a:cubicBezTo>
                    <a:cubicBezTo>
                      <a:pt x="1263" y="222"/>
                      <a:pt x="1263" y="222"/>
                      <a:pt x="1263" y="222"/>
                    </a:cubicBezTo>
                    <a:cubicBezTo>
                      <a:pt x="1262" y="228"/>
                      <a:pt x="1262" y="228"/>
                      <a:pt x="1262" y="228"/>
                    </a:cubicBezTo>
                    <a:cubicBezTo>
                      <a:pt x="1255" y="238"/>
                      <a:pt x="1255" y="238"/>
                      <a:pt x="1255" y="238"/>
                    </a:cubicBezTo>
                    <a:cubicBezTo>
                      <a:pt x="1254" y="239"/>
                      <a:pt x="1254" y="239"/>
                      <a:pt x="1254" y="239"/>
                    </a:cubicBezTo>
                    <a:cubicBezTo>
                      <a:pt x="1235" y="263"/>
                      <a:pt x="1235" y="263"/>
                      <a:pt x="1235" y="263"/>
                    </a:cubicBezTo>
                    <a:cubicBezTo>
                      <a:pt x="1230" y="262"/>
                      <a:pt x="1230" y="262"/>
                      <a:pt x="1230" y="262"/>
                    </a:cubicBezTo>
                    <a:cubicBezTo>
                      <a:pt x="1220" y="265"/>
                      <a:pt x="1220" y="265"/>
                      <a:pt x="1220" y="265"/>
                    </a:cubicBezTo>
                    <a:cubicBezTo>
                      <a:pt x="1200" y="255"/>
                      <a:pt x="1200" y="255"/>
                      <a:pt x="1200" y="255"/>
                    </a:cubicBezTo>
                    <a:cubicBezTo>
                      <a:pt x="1177" y="259"/>
                      <a:pt x="1177" y="259"/>
                      <a:pt x="1177" y="259"/>
                    </a:cubicBezTo>
                    <a:cubicBezTo>
                      <a:pt x="1155" y="271"/>
                      <a:pt x="1155" y="271"/>
                      <a:pt x="1155" y="271"/>
                    </a:cubicBezTo>
                    <a:cubicBezTo>
                      <a:pt x="1145" y="283"/>
                      <a:pt x="1145" y="283"/>
                      <a:pt x="1145" y="283"/>
                    </a:cubicBezTo>
                    <a:cubicBezTo>
                      <a:pt x="1136" y="293"/>
                      <a:pt x="1136" y="293"/>
                      <a:pt x="1136" y="293"/>
                    </a:cubicBezTo>
                    <a:cubicBezTo>
                      <a:pt x="1111" y="299"/>
                      <a:pt x="1111" y="299"/>
                      <a:pt x="1111" y="299"/>
                    </a:cubicBezTo>
                    <a:cubicBezTo>
                      <a:pt x="1107" y="295"/>
                      <a:pt x="1107" y="295"/>
                      <a:pt x="1107" y="295"/>
                    </a:cubicBezTo>
                    <a:cubicBezTo>
                      <a:pt x="1086" y="316"/>
                      <a:pt x="1086" y="316"/>
                      <a:pt x="1086" y="316"/>
                    </a:cubicBezTo>
                    <a:cubicBezTo>
                      <a:pt x="1083" y="318"/>
                      <a:pt x="1083" y="318"/>
                      <a:pt x="1083" y="318"/>
                    </a:cubicBezTo>
                    <a:cubicBezTo>
                      <a:pt x="1080" y="321"/>
                      <a:pt x="1080" y="321"/>
                      <a:pt x="1080" y="321"/>
                    </a:cubicBezTo>
                    <a:cubicBezTo>
                      <a:pt x="1082" y="325"/>
                      <a:pt x="1082" y="325"/>
                      <a:pt x="1082" y="325"/>
                    </a:cubicBezTo>
                    <a:cubicBezTo>
                      <a:pt x="1078" y="329"/>
                      <a:pt x="1078" y="329"/>
                      <a:pt x="1078" y="329"/>
                    </a:cubicBezTo>
                    <a:cubicBezTo>
                      <a:pt x="1065" y="340"/>
                      <a:pt x="1065" y="340"/>
                      <a:pt x="1065" y="340"/>
                    </a:cubicBezTo>
                    <a:cubicBezTo>
                      <a:pt x="1060" y="346"/>
                      <a:pt x="1060" y="346"/>
                      <a:pt x="1060" y="346"/>
                    </a:cubicBezTo>
                    <a:cubicBezTo>
                      <a:pt x="1055" y="350"/>
                      <a:pt x="1055" y="350"/>
                      <a:pt x="1055" y="350"/>
                    </a:cubicBezTo>
                    <a:cubicBezTo>
                      <a:pt x="1052" y="357"/>
                      <a:pt x="1052" y="357"/>
                      <a:pt x="1052" y="357"/>
                    </a:cubicBezTo>
                    <a:cubicBezTo>
                      <a:pt x="1052" y="358"/>
                      <a:pt x="1052" y="358"/>
                      <a:pt x="1052" y="358"/>
                    </a:cubicBezTo>
                    <a:cubicBezTo>
                      <a:pt x="1052" y="359"/>
                      <a:pt x="1052" y="359"/>
                      <a:pt x="1052" y="359"/>
                    </a:cubicBezTo>
                    <a:cubicBezTo>
                      <a:pt x="1052" y="372"/>
                      <a:pt x="1052" y="372"/>
                      <a:pt x="1052" y="372"/>
                    </a:cubicBezTo>
                    <a:cubicBezTo>
                      <a:pt x="1053" y="376"/>
                      <a:pt x="1053" y="376"/>
                      <a:pt x="1053" y="376"/>
                    </a:cubicBezTo>
                    <a:cubicBezTo>
                      <a:pt x="1055" y="389"/>
                      <a:pt x="1055" y="389"/>
                      <a:pt x="1055" y="389"/>
                    </a:cubicBezTo>
                    <a:cubicBezTo>
                      <a:pt x="1053" y="410"/>
                      <a:pt x="1053" y="410"/>
                      <a:pt x="1053" y="410"/>
                    </a:cubicBezTo>
                    <a:cubicBezTo>
                      <a:pt x="1046" y="426"/>
                      <a:pt x="1046" y="426"/>
                      <a:pt x="1046" y="426"/>
                    </a:cubicBezTo>
                    <a:cubicBezTo>
                      <a:pt x="1046" y="426"/>
                      <a:pt x="1046" y="426"/>
                      <a:pt x="1046" y="426"/>
                    </a:cubicBezTo>
                    <a:cubicBezTo>
                      <a:pt x="1042" y="434"/>
                      <a:pt x="1042" y="434"/>
                      <a:pt x="1042" y="434"/>
                    </a:cubicBezTo>
                    <a:cubicBezTo>
                      <a:pt x="1039" y="439"/>
                      <a:pt x="1039" y="439"/>
                      <a:pt x="1039" y="439"/>
                    </a:cubicBezTo>
                    <a:cubicBezTo>
                      <a:pt x="1033" y="452"/>
                      <a:pt x="1033" y="452"/>
                      <a:pt x="1033" y="452"/>
                    </a:cubicBezTo>
                    <a:cubicBezTo>
                      <a:pt x="1032" y="454"/>
                      <a:pt x="1032" y="454"/>
                      <a:pt x="1032" y="454"/>
                    </a:cubicBezTo>
                    <a:cubicBezTo>
                      <a:pt x="1021" y="472"/>
                      <a:pt x="1021" y="472"/>
                      <a:pt x="1021" y="472"/>
                    </a:cubicBezTo>
                    <a:cubicBezTo>
                      <a:pt x="1013" y="482"/>
                      <a:pt x="1013" y="482"/>
                      <a:pt x="1013" y="482"/>
                    </a:cubicBezTo>
                    <a:cubicBezTo>
                      <a:pt x="1003" y="493"/>
                      <a:pt x="1003" y="493"/>
                      <a:pt x="1003" y="493"/>
                    </a:cubicBezTo>
                    <a:cubicBezTo>
                      <a:pt x="996" y="500"/>
                      <a:pt x="996" y="500"/>
                      <a:pt x="996" y="500"/>
                    </a:cubicBezTo>
                    <a:cubicBezTo>
                      <a:pt x="985" y="510"/>
                      <a:pt x="985" y="510"/>
                      <a:pt x="985" y="510"/>
                    </a:cubicBezTo>
                    <a:cubicBezTo>
                      <a:pt x="974" y="523"/>
                      <a:pt x="974" y="523"/>
                      <a:pt x="974" y="523"/>
                    </a:cubicBezTo>
                    <a:cubicBezTo>
                      <a:pt x="972" y="527"/>
                      <a:pt x="972" y="527"/>
                      <a:pt x="972" y="527"/>
                    </a:cubicBezTo>
                    <a:cubicBezTo>
                      <a:pt x="969" y="536"/>
                      <a:pt x="969" y="536"/>
                      <a:pt x="969" y="536"/>
                    </a:cubicBezTo>
                    <a:cubicBezTo>
                      <a:pt x="967" y="542"/>
                      <a:pt x="967" y="542"/>
                      <a:pt x="967" y="542"/>
                    </a:cubicBezTo>
                    <a:cubicBezTo>
                      <a:pt x="958" y="567"/>
                      <a:pt x="958" y="567"/>
                      <a:pt x="958" y="567"/>
                    </a:cubicBezTo>
                    <a:cubicBezTo>
                      <a:pt x="958" y="577"/>
                      <a:pt x="958" y="577"/>
                      <a:pt x="958" y="577"/>
                    </a:cubicBezTo>
                    <a:cubicBezTo>
                      <a:pt x="958" y="583"/>
                      <a:pt x="958" y="583"/>
                      <a:pt x="958" y="583"/>
                    </a:cubicBezTo>
                    <a:cubicBezTo>
                      <a:pt x="957" y="585"/>
                      <a:pt x="957" y="585"/>
                      <a:pt x="957" y="585"/>
                    </a:cubicBezTo>
                    <a:cubicBezTo>
                      <a:pt x="957" y="586"/>
                      <a:pt x="957" y="586"/>
                      <a:pt x="957" y="586"/>
                    </a:cubicBezTo>
                    <a:cubicBezTo>
                      <a:pt x="951" y="601"/>
                      <a:pt x="951" y="601"/>
                      <a:pt x="951" y="601"/>
                    </a:cubicBezTo>
                    <a:cubicBezTo>
                      <a:pt x="944" y="621"/>
                      <a:pt x="944" y="621"/>
                      <a:pt x="944" y="621"/>
                    </a:cubicBezTo>
                    <a:cubicBezTo>
                      <a:pt x="943" y="624"/>
                      <a:pt x="943" y="624"/>
                      <a:pt x="943" y="624"/>
                    </a:cubicBezTo>
                    <a:cubicBezTo>
                      <a:pt x="937" y="640"/>
                      <a:pt x="937" y="640"/>
                      <a:pt x="937" y="640"/>
                    </a:cubicBezTo>
                    <a:cubicBezTo>
                      <a:pt x="932" y="653"/>
                      <a:pt x="932" y="653"/>
                      <a:pt x="932" y="653"/>
                    </a:cubicBezTo>
                    <a:cubicBezTo>
                      <a:pt x="925" y="668"/>
                      <a:pt x="925" y="668"/>
                      <a:pt x="925" y="668"/>
                    </a:cubicBezTo>
                    <a:cubicBezTo>
                      <a:pt x="923" y="673"/>
                      <a:pt x="923" y="673"/>
                      <a:pt x="923" y="673"/>
                    </a:cubicBezTo>
                    <a:cubicBezTo>
                      <a:pt x="922" y="676"/>
                      <a:pt x="922" y="676"/>
                      <a:pt x="922" y="676"/>
                    </a:cubicBezTo>
                    <a:cubicBezTo>
                      <a:pt x="920" y="682"/>
                      <a:pt x="920" y="682"/>
                      <a:pt x="920" y="682"/>
                    </a:cubicBezTo>
                    <a:cubicBezTo>
                      <a:pt x="920" y="687"/>
                      <a:pt x="920" y="687"/>
                      <a:pt x="920" y="687"/>
                    </a:cubicBezTo>
                    <a:cubicBezTo>
                      <a:pt x="920" y="687"/>
                      <a:pt x="920" y="687"/>
                      <a:pt x="920" y="687"/>
                    </a:cubicBezTo>
                    <a:cubicBezTo>
                      <a:pt x="920" y="698"/>
                      <a:pt x="920" y="698"/>
                      <a:pt x="920" y="698"/>
                    </a:cubicBezTo>
                    <a:cubicBezTo>
                      <a:pt x="919" y="704"/>
                      <a:pt x="919" y="704"/>
                      <a:pt x="919" y="704"/>
                    </a:cubicBezTo>
                    <a:cubicBezTo>
                      <a:pt x="918" y="710"/>
                      <a:pt x="918" y="710"/>
                      <a:pt x="918" y="710"/>
                    </a:cubicBezTo>
                    <a:cubicBezTo>
                      <a:pt x="917" y="718"/>
                      <a:pt x="917" y="718"/>
                      <a:pt x="917" y="718"/>
                    </a:cubicBezTo>
                    <a:cubicBezTo>
                      <a:pt x="916" y="724"/>
                      <a:pt x="916" y="724"/>
                      <a:pt x="916" y="724"/>
                    </a:cubicBezTo>
                    <a:cubicBezTo>
                      <a:pt x="915" y="732"/>
                      <a:pt x="915" y="732"/>
                      <a:pt x="915" y="732"/>
                    </a:cubicBezTo>
                    <a:cubicBezTo>
                      <a:pt x="913" y="733"/>
                      <a:pt x="913" y="733"/>
                      <a:pt x="913" y="733"/>
                    </a:cubicBezTo>
                    <a:cubicBezTo>
                      <a:pt x="906" y="732"/>
                      <a:pt x="906" y="732"/>
                      <a:pt x="906" y="732"/>
                    </a:cubicBezTo>
                    <a:cubicBezTo>
                      <a:pt x="894" y="733"/>
                      <a:pt x="894" y="733"/>
                      <a:pt x="894" y="733"/>
                    </a:cubicBezTo>
                    <a:cubicBezTo>
                      <a:pt x="883" y="730"/>
                      <a:pt x="883" y="730"/>
                      <a:pt x="883" y="730"/>
                    </a:cubicBezTo>
                    <a:cubicBezTo>
                      <a:pt x="881" y="726"/>
                      <a:pt x="881" y="726"/>
                      <a:pt x="881" y="726"/>
                    </a:cubicBezTo>
                    <a:cubicBezTo>
                      <a:pt x="867" y="720"/>
                      <a:pt x="867" y="720"/>
                      <a:pt x="867" y="720"/>
                    </a:cubicBezTo>
                    <a:cubicBezTo>
                      <a:pt x="865" y="719"/>
                      <a:pt x="865" y="719"/>
                      <a:pt x="865" y="719"/>
                    </a:cubicBezTo>
                    <a:cubicBezTo>
                      <a:pt x="847" y="715"/>
                      <a:pt x="847" y="715"/>
                      <a:pt x="847" y="715"/>
                    </a:cubicBezTo>
                    <a:cubicBezTo>
                      <a:pt x="841" y="714"/>
                      <a:pt x="841" y="714"/>
                      <a:pt x="841" y="714"/>
                    </a:cubicBezTo>
                    <a:cubicBezTo>
                      <a:pt x="789" y="714"/>
                      <a:pt x="789" y="714"/>
                      <a:pt x="789" y="714"/>
                    </a:cubicBezTo>
                    <a:cubicBezTo>
                      <a:pt x="778" y="711"/>
                      <a:pt x="778" y="711"/>
                      <a:pt x="778" y="711"/>
                    </a:cubicBezTo>
                    <a:cubicBezTo>
                      <a:pt x="739" y="710"/>
                      <a:pt x="739" y="710"/>
                      <a:pt x="739" y="710"/>
                    </a:cubicBezTo>
                    <a:cubicBezTo>
                      <a:pt x="652" y="717"/>
                      <a:pt x="652" y="717"/>
                      <a:pt x="652" y="717"/>
                    </a:cubicBezTo>
                    <a:cubicBezTo>
                      <a:pt x="641" y="709"/>
                      <a:pt x="641" y="709"/>
                      <a:pt x="641" y="709"/>
                    </a:cubicBezTo>
                    <a:cubicBezTo>
                      <a:pt x="626" y="715"/>
                      <a:pt x="626" y="715"/>
                      <a:pt x="626" y="715"/>
                    </a:cubicBezTo>
                    <a:cubicBezTo>
                      <a:pt x="552" y="724"/>
                      <a:pt x="552" y="724"/>
                      <a:pt x="552" y="724"/>
                    </a:cubicBezTo>
                    <a:cubicBezTo>
                      <a:pt x="506" y="740"/>
                      <a:pt x="506" y="740"/>
                      <a:pt x="506" y="740"/>
                    </a:cubicBezTo>
                    <a:cubicBezTo>
                      <a:pt x="494" y="740"/>
                      <a:pt x="494" y="740"/>
                      <a:pt x="494" y="740"/>
                    </a:cubicBezTo>
                    <a:cubicBezTo>
                      <a:pt x="485" y="737"/>
                      <a:pt x="485" y="737"/>
                      <a:pt x="485" y="737"/>
                    </a:cubicBezTo>
                    <a:cubicBezTo>
                      <a:pt x="474" y="740"/>
                      <a:pt x="474" y="740"/>
                      <a:pt x="474" y="740"/>
                    </a:cubicBezTo>
                    <a:cubicBezTo>
                      <a:pt x="461" y="747"/>
                      <a:pt x="461" y="747"/>
                      <a:pt x="461" y="747"/>
                    </a:cubicBezTo>
                    <a:cubicBezTo>
                      <a:pt x="441" y="752"/>
                      <a:pt x="441" y="752"/>
                      <a:pt x="441" y="752"/>
                    </a:cubicBezTo>
                    <a:cubicBezTo>
                      <a:pt x="439" y="753"/>
                      <a:pt x="439" y="753"/>
                      <a:pt x="439" y="753"/>
                    </a:cubicBezTo>
                    <a:cubicBezTo>
                      <a:pt x="433" y="754"/>
                      <a:pt x="433" y="754"/>
                      <a:pt x="433" y="754"/>
                    </a:cubicBezTo>
                    <a:cubicBezTo>
                      <a:pt x="396" y="770"/>
                      <a:pt x="396" y="770"/>
                      <a:pt x="396" y="770"/>
                    </a:cubicBezTo>
                    <a:cubicBezTo>
                      <a:pt x="389" y="770"/>
                      <a:pt x="389" y="770"/>
                      <a:pt x="389" y="770"/>
                    </a:cubicBezTo>
                    <a:cubicBezTo>
                      <a:pt x="379" y="751"/>
                      <a:pt x="379" y="751"/>
                      <a:pt x="379" y="751"/>
                    </a:cubicBezTo>
                    <a:cubicBezTo>
                      <a:pt x="369" y="743"/>
                      <a:pt x="369" y="743"/>
                      <a:pt x="369" y="743"/>
                    </a:cubicBezTo>
                    <a:cubicBezTo>
                      <a:pt x="347" y="716"/>
                      <a:pt x="347" y="716"/>
                      <a:pt x="347" y="716"/>
                    </a:cubicBezTo>
                    <a:cubicBezTo>
                      <a:pt x="347" y="716"/>
                      <a:pt x="327" y="716"/>
                      <a:pt x="322" y="716"/>
                    </a:cubicBezTo>
                    <a:cubicBezTo>
                      <a:pt x="317" y="716"/>
                      <a:pt x="308" y="711"/>
                      <a:pt x="302" y="708"/>
                    </a:cubicBezTo>
                    <a:cubicBezTo>
                      <a:pt x="296" y="706"/>
                      <a:pt x="292" y="708"/>
                      <a:pt x="286" y="712"/>
                    </a:cubicBezTo>
                    <a:cubicBezTo>
                      <a:pt x="280" y="716"/>
                      <a:pt x="275" y="714"/>
                      <a:pt x="269" y="711"/>
                    </a:cubicBezTo>
                    <a:cubicBezTo>
                      <a:pt x="263" y="707"/>
                      <a:pt x="257" y="707"/>
                      <a:pt x="246" y="708"/>
                    </a:cubicBezTo>
                    <a:cubicBezTo>
                      <a:pt x="235" y="710"/>
                      <a:pt x="239" y="678"/>
                      <a:pt x="239" y="678"/>
                    </a:cubicBezTo>
                    <a:cubicBezTo>
                      <a:pt x="227" y="667"/>
                      <a:pt x="227" y="667"/>
                      <a:pt x="227" y="667"/>
                    </a:cubicBezTo>
                    <a:cubicBezTo>
                      <a:pt x="227" y="667"/>
                      <a:pt x="226" y="641"/>
                      <a:pt x="225" y="636"/>
                    </a:cubicBezTo>
                    <a:cubicBezTo>
                      <a:pt x="223" y="631"/>
                      <a:pt x="206" y="625"/>
                      <a:pt x="206" y="625"/>
                    </a:cubicBezTo>
                    <a:cubicBezTo>
                      <a:pt x="195" y="628"/>
                      <a:pt x="195" y="628"/>
                      <a:pt x="195" y="628"/>
                    </a:cubicBezTo>
                    <a:cubicBezTo>
                      <a:pt x="182" y="625"/>
                      <a:pt x="182" y="625"/>
                      <a:pt x="182" y="625"/>
                    </a:cubicBezTo>
                    <a:cubicBezTo>
                      <a:pt x="168" y="628"/>
                      <a:pt x="168" y="628"/>
                      <a:pt x="168" y="628"/>
                    </a:cubicBezTo>
                    <a:cubicBezTo>
                      <a:pt x="131" y="672"/>
                      <a:pt x="131" y="672"/>
                      <a:pt x="131" y="672"/>
                    </a:cubicBezTo>
                    <a:cubicBezTo>
                      <a:pt x="118" y="672"/>
                      <a:pt x="118" y="672"/>
                      <a:pt x="118" y="672"/>
                    </a:cubicBezTo>
                    <a:cubicBezTo>
                      <a:pt x="109" y="679"/>
                      <a:pt x="109" y="679"/>
                      <a:pt x="109" y="679"/>
                    </a:cubicBezTo>
                    <a:cubicBezTo>
                      <a:pt x="108" y="679"/>
                      <a:pt x="108" y="679"/>
                      <a:pt x="108" y="679"/>
                    </a:cubicBezTo>
                    <a:cubicBezTo>
                      <a:pt x="107" y="676"/>
                      <a:pt x="104" y="674"/>
                      <a:pt x="97" y="673"/>
                    </a:cubicBezTo>
                    <a:cubicBezTo>
                      <a:pt x="100" y="637"/>
                      <a:pt x="100" y="600"/>
                      <a:pt x="103" y="564"/>
                    </a:cubicBezTo>
                    <a:cubicBezTo>
                      <a:pt x="102" y="542"/>
                      <a:pt x="103" y="538"/>
                      <a:pt x="119" y="542"/>
                    </a:cubicBezTo>
                    <a:cubicBezTo>
                      <a:pt x="133" y="533"/>
                      <a:pt x="131" y="513"/>
                      <a:pt x="151" y="515"/>
                    </a:cubicBezTo>
                    <a:cubicBezTo>
                      <a:pt x="172" y="521"/>
                      <a:pt x="172" y="490"/>
                      <a:pt x="182" y="509"/>
                    </a:cubicBezTo>
                    <a:cubicBezTo>
                      <a:pt x="178" y="525"/>
                      <a:pt x="213" y="517"/>
                      <a:pt x="206" y="506"/>
                    </a:cubicBezTo>
                    <a:cubicBezTo>
                      <a:pt x="204" y="494"/>
                      <a:pt x="204" y="490"/>
                      <a:pt x="205" y="481"/>
                    </a:cubicBezTo>
                    <a:cubicBezTo>
                      <a:pt x="203" y="470"/>
                      <a:pt x="218" y="476"/>
                      <a:pt x="216" y="463"/>
                    </a:cubicBezTo>
                    <a:cubicBezTo>
                      <a:pt x="224" y="440"/>
                      <a:pt x="192" y="452"/>
                      <a:pt x="197" y="435"/>
                    </a:cubicBezTo>
                    <a:cubicBezTo>
                      <a:pt x="208" y="426"/>
                      <a:pt x="203" y="410"/>
                      <a:pt x="194" y="401"/>
                    </a:cubicBezTo>
                    <a:cubicBezTo>
                      <a:pt x="188" y="392"/>
                      <a:pt x="174" y="392"/>
                      <a:pt x="161" y="386"/>
                    </a:cubicBezTo>
                    <a:cubicBezTo>
                      <a:pt x="151" y="379"/>
                      <a:pt x="113" y="372"/>
                      <a:pt x="131" y="361"/>
                    </a:cubicBezTo>
                    <a:cubicBezTo>
                      <a:pt x="129" y="345"/>
                      <a:pt x="125" y="330"/>
                      <a:pt x="124" y="315"/>
                    </a:cubicBezTo>
                    <a:cubicBezTo>
                      <a:pt x="110" y="324"/>
                      <a:pt x="95" y="331"/>
                      <a:pt x="80" y="339"/>
                    </a:cubicBezTo>
                    <a:cubicBezTo>
                      <a:pt x="66" y="344"/>
                      <a:pt x="47" y="365"/>
                      <a:pt x="49" y="341"/>
                    </a:cubicBezTo>
                    <a:cubicBezTo>
                      <a:pt x="52" y="325"/>
                      <a:pt x="40" y="312"/>
                      <a:pt x="36" y="308"/>
                    </a:cubicBezTo>
                    <a:cubicBezTo>
                      <a:pt x="33" y="294"/>
                      <a:pt x="49" y="277"/>
                      <a:pt x="34" y="269"/>
                    </a:cubicBezTo>
                    <a:cubicBezTo>
                      <a:pt x="47" y="266"/>
                      <a:pt x="53" y="251"/>
                      <a:pt x="57" y="238"/>
                    </a:cubicBezTo>
                    <a:cubicBezTo>
                      <a:pt x="58" y="223"/>
                      <a:pt x="66" y="215"/>
                      <a:pt x="73" y="209"/>
                    </a:cubicBezTo>
                    <a:cubicBezTo>
                      <a:pt x="72" y="189"/>
                      <a:pt x="96" y="214"/>
                      <a:pt x="96" y="194"/>
                    </a:cubicBezTo>
                    <a:cubicBezTo>
                      <a:pt x="99" y="186"/>
                      <a:pt x="79" y="186"/>
                      <a:pt x="80" y="180"/>
                    </a:cubicBezTo>
                    <a:cubicBezTo>
                      <a:pt x="69" y="175"/>
                      <a:pt x="67" y="166"/>
                      <a:pt x="62" y="170"/>
                    </a:cubicBezTo>
                    <a:cubicBezTo>
                      <a:pt x="49" y="166"/>
                      <a:pt x="31" y="183"/>
                      <a:pt x="30" y="169"/>
                    </a:cubicBezTo>
                    <a:cubicBezTo>
                      <a:pt x="19" y="147"/>
                      <a:pt x="12" y="188"/>
                      <a:pt x="0" y="165"/>
                    </a:cubicBezTo>
                    <a:cubicBezTo>
                      <a:pt x="4" y="148"/>
                      <a:pt x="25" y="150"/>
                      <a:pt x="33" y="139"/>
                    </a:cubicBezTo>
                    <a:cubicBezTo>
                      <a:pt x="33" y="129"/>
                      <a:pt x="45" y="131"/>
                      <a:pt x="41" y="118"/>
                    </a:cubicBezTo>
                    <a:cubicBezTo>
                      <a:pt x="30" y="104"/>
                      <a:pt x="33" y="93"/>
                      <a:pt x="22" y="88"/>
                    </a:cubicBezTo>
                    <a:cubicBezTo>
                      <a:pt x="27" y="85"/>
                      <a:pt x="48" y="66"/>
                      <a:pt x="50" y="78"/>
                    </a:cubicBezTo>
                    <a:cubicBezTo>
                      <a:pt x="52" y="87"/>
                      <a:pt x="67" y="91"/>
                      <a:pt x="74" y="88"/>
                    </a:cubicBezTo>
                    <a:cubicBezTo>
                      <a:pt x="74" y="88"/>
                      <a:pt x="88" y="89"/>
                      <a:pt x="92" y="95"/>
                    </a:cubicBezTo>
                    <a:cubicBezTo>
                      <a:pt x="96" y="100"/>
                      <a:pt x="97" y="113"/>
                      <a:pt x="97" y="113"/>
                    </a:cubicBezTo>
                    <a:cubicBezTo>
                      <a:pt x="120" y="104"/>
                      <a:pt x="120" y="104"/>
                      <a:pt x="120" y="104"/>
                    </a:cubicBezTo>
                    <a:cubicBezTo>
                      <a:pt x="136" y="104"/>
                      <a:pt x="136" y="104"/>
                      <a:pt x="136" y="104"/>
                    </a:cubicBezTo>
                    <a:cubicBezTo>
                      <a:pt x="136" y="104"/>
                      <a:pt x="159" y="112"/>
                      <a:pt x="171" y="111"/>
                    </a:cubicBezTo>
                    <a:cubicBezTo>
                      <a:pt x="183" y="109"/>
                      <a:pt x="200" y="98"/>
                      <a:pt x="202" y="90"/>
                    </a:cubicBezTo>
                    <a:cubicBezTo>
                      <a:pt x="203" y="82"/>
                      <a:pt x="203" y="66"/>
                      <a:pt x="203" y="66"/>
                    </a:cubicBezTo>
                    <a:cubicBezTo>
                      <a:pt x="214" y="39"/>
                      <a:pt x="214" y="39"/>
                      <a:pt x="214" y="39"/>
                    </a:cubicBezTo>
                    <a:cubicBezTo>
                      <a:pt x="233" y="47"/>
                      <a:pt x="233" y="47"/>
                      <a:pt x="233" y="47"/>
                    </a:cubicBezTo>
                    <a:cubicBezTo>
                      <a:pt x="251" y="51"/>
                      <a:pt x="251" y="51"/>
                      <a:pt x="251" y="51"/>
                    </a:cubicBezTo>
                    <a:cubicBezTo>
                      <a:pt x="277" y="49"/>
                      <a:pt x="277" y="49"/>
                      <a:pt x="277" y="49"/>
                    </a:cubicBezTo>
                    <a:cubicBezTo>
                      <a:pt x="304" y="47"/>
                      <a:pt x="304" y="47"/>
                      <a:pt x="304" y="47"/>
                    </a:cubicBezTo>
                    <a:cubicBezTo>
                      <a:pt x="319" y="51"/>
                      <a:pt x="319" y="51"/>
                      <a:pt x="319" y="51"/>
                    </a:cubicBezTo>
                    <a:cubicBezTo>
                      <a:pt x="369" y="49"/>
                      <a:pt x="369" y="49"/>
                      <a:pt x="369" y="49"/>
                    </a:cubicBezTo>
                    <a:cubicBezTo>
                      <a:pt x="404" y="47"/>
                      <a:pt x="404" y="47"/>
                      <a:pt x="404" y="47"/>
                    </a:cubicBezTo>
                    <a:cubicBezTo>
                      <a:pt x="435" y="41"/>
                      <a:pt x="435" y="41"/>
                      <a:pt x="435" y="41"/>
                    </a:cubicBezTo>
                    <a:cubicBezTo>
                      <a:pt x="509" y="33"/>
                      <a:pt x="509" y="33"/>
                      <a:pt x="509" y="33"/>
                    </a:cubicBezTo>
                    <a:cubicBezTo>
                      <a:pt x="580" y="31"/>
                      <a:pt x="580" y="31"/>
                      <a:pt x="580" y="31"/>
                    </a:cubicBezTo>
                    <a:cubicBezTo>
                      <a:pt x="609" y="30"/>
                      <a:pt x="609" y="30"/>
                      <a:pt x="609" y="30"/>
                    </a:cubicBezTo>
                    <a:cubicBezTo>
                      <a:pt x="680" y="47"/>
                      <a:pt x="680" y="47"/>
                      <a:pt x="680" y="47"/>
                    </a:cubicBezTo>
                    <a:cubicBezTo>
                      <a:pt x="723" y="63"/>
                      <a:pt x="723" y="63"/>
                      <a:pt x="723" y="63"/>
                    </a:cubicBezTo>
                    <a:cubicBezTo>
                      <a:pt x="734" y="64"/>
                      <a:pt x="734" y="64"/>
                      <a:pt x="734" y="64"/>
                    </a:cubicBezTo>
                    <a:cubicBezTo>
                      <a:pt x="749" y="70"/>
                      <a:pt x="749" y="70"/>
                      <a:pt x="749" y="70"/>
                    </a:cubicBezTo>
                    <a:cubicBezTo>
                      <a:pt x="783" y="79"/>
                      <a:pt x="783" y="79"/>
                      <a:pt x="783" y="79"/>
                    </a:cubicBezTo>
                    <a:cubicBezTo>
                      <a:pt x="817" y="80"/>
                      <a:pt x="817" y="80"/>
                      <a:pt x="817" y="80"/>
                    </a:cubicBezTo>
                    <a:cubicBezTo>
                      <a:pt x="849" y="80"/>
                      <a:pt x="849" y="80"/>
                      <a:pt x="849" y="80"/>
                    </a:cubicBezTo>
                    <a:cubicBezTo>
                      <a:pt x="876" y="84"/>
                      <a:pt x="876" y="84"/>
                      <a:pt x="876" y="84"/>
                    </a:cubicBezTo>
                    <a:cubicBezTo>
                      <a:pt x="895" y="84"/>
                      <a:pt x="895" y="84"/>
                      <a:pt x="895" y="84"/>
                    </a:cubicBezTo>
                    <a:cubicBezTo>
                      <a:pt x="909" y="81"/>
                      <a:pt x="909" y="81"/>
                      <a:pt x="909" y="81"/>
                    </a:cubicBezTo>
                    <a:cubicBezTo>
                      <a:pt x="917" y="84"/>
                      <a:pt x="917" y="84"/>
                      <a:pt x="917" y="84"/>
                    </a:cubicBezTo>
                    <a:cubicBezTo>
                      <a:pt x="926" y="96"/>
                      <a:pt x="926" y="96"/>
                      <a:pt x="926" y="96"/>
                    </a:cubicBezTo>
                    <a:cubicBezTo>
                      <a:pt x="941" y="104"/>
                      <a:pt x="941" y="104"/>
                      <a:pt x="941" y="104"/>
                    </a:cubicBezTo>
                    <a:cubicBezTo>
                      <a:pt x="955" y="108"/>
                      <a:pt x="955" y="108"/>
                      <a:pt x="955" y="108"/>
                    </a:cubicBezTo>
                    <a:cubicBezTo>
                      <a:pt x="965" y="111"/>
                      <a:pt x="965" y="111"/>
                      <a:pt x="965" y="111"/>
                    </a:cubicBezTo>
                    <a:cubicBezTo>
                      <a:pt x="980" y="112"/>
                      <a:pt x="980" y="112"/>
                      <a:pt x="980" y="112"/>
                    </a:cubicBezTo>
                    <a:cubicBezTo>
                      <a:pt x="1002" y="109"/>
                      <a:pt x="1002" y="109"/>
                      <a:pt x="1002" y="109"/>
                    </a:cubicBezTo>
                    <a:cubicBezTo>
                      <a:pt x="1012" y="103"/>
                      <a:pt x="1012" y="103"/>
                      <a:pt x="1012" y="103"/>
                    </a:cubicBezTo>
                    <a:cubicBezTo>
                      <a:pt x="1016" y="103"/>
                      <a:pt x="1016" y="103"/>
                      <a:pt x="1016" y="103"/>
                    </a:cubicBezTo>
                    <a:cubicBezTo>
                      <a:pt x="1038" y="105"/>
                      <a:pt x="1038" y="105"/>
                      <a:pt x="1038" y="105"/>
                    </a:cubicBezTo>
                    <a:cubicBezTo>
                      <a:pt x="1059" y="102"/>
                      <a:pt x="1059" y="102"/>
                      <a:pt x="1059" y="102"/>
                    </a:cubicBezTo>
                    <a:cubicBezTo>
                      <a:pt x="1095" y="87"/>
                      <a:pt x="1095" y="87"/>
                      <a:pt x="1095" y="87"/>
                    </a:cubicBezTo>
                    <a:cubicBezTo>
                      <a:pt x="1121" y="70"/>
                      <a:pt x="1121" y="70"/>
                      <a:pt x="1121" y="70"/>
                    </a:cubicBezTo>
                    <a:cubicBezTo>
                      <a:pt x="1148" y="43"/>
                      <a:pt x="1148" y="43"/>
                      <a:pt x="1148" y="43"/>
                    </a:cubicBezTo>
                    <a:cubicBezTo>
                      <a:pt x="1159" y="31"/>
                      <a:pt x="1159" y="31"/>
                      <a:pt x="1159" y="31"/>
                    </a:cubicBezTo>
                    <a:cubicBezTo>
                      <a:pt x="1182" y="0"/>
                      <a:pt x="1182" y="0"/>
                      <a:pt x="1182" y="0"/>
                    </a:cubicBezTo>
                    <a:cubicBezTo>
                      <a:pt x="1191" y="6"/>
                      <a:pt x="1191" y="6"/>
                      <a:pt x="1191" y="6"/>
                    </a:cubicBezTo>
                    <a:cubicBezTo>
                      <a:pt x="1208" y="17"/>
                      <a:pt x="1208" y="17"/>
                      <a:pt x="1208" y="17"/>
                    </a:cubicBezTo>
                    <a:cubicBezTo>
                      <a:pt x="1223" y="28"/>
                      <a:pt x="1223" y="28"/>
                      <a:pt x="1223" y="28"/>
                    </a:cubicBezTo>
                    <a:cubicBezTo>
                      <a:pt x="1230" y="33"/>
                      <a:pt x="1230" y="33"/>
                      <a:pt x="1230" y="33"/>
                    </a:cubicBezTo>
                    <a:cubicBezTo>
                      <a:pt x="1235" y="37"/>
                      <a:pt x="1235" y="37"/>
                      <a:pt x="1235" y="37"/>
                    </a:cubicBezTo>
                    <a:cubicBezTo>
                      <a:pt x="1237" y="37"/>
                      <a:pt x="1237" y="37"/>
                      <a:pt x="1237" y="37"/>
                    </a:cubicBezTo>
                    <a:cubicBezTo>
                      <a:pt x="1238" y="39"/>
                      <a:pt x="1238" y="39"/>
                      <a:pt x="1238" y="39"/>
                    </a:cubicBezTo>
                    <a:cubicBezTo>
                      <a:pt x="1250" y="49"/>
                      <a:pt x="1250" y="49"/>
                      <a:pt x="1250" y="49"/>
                    </a:cubicBezTo>
                    <a:cubicBezTo>
                      <a:pt x="1255" y="54"/>
                      <a:pt x="1255" y="54"/>
                      <a:pt x="1255" y="54"/>
                    </a:cubicBezTo>
                    <a:cubicBezTo>
                      <a:pt x="1259" y="59"/>
                      <a:pt x="1259" y="59"/>
                      <a:pt x="1259" y="59"/>
                    </a:cubicBezTo>
                    <a:cubicBezTo>
                      <a:pt x="1267" y="68"/>
                      <a:pt x="1267" y="68"/>
                      <a:pt x="1267" y="68"/>
                    </a:cubicBezTo>
                    <a:cubicBezTo>
                      <a:pt x="1277" y="79"/>
                      <a:pt x="1277" y="79"/>
                      <a:pt x="1277" y="79"/>
                    </a:cubicBezTo>
                    <a:cubicBezTo>
                      <a:pt x="1282" y="83"/>
                      <a:pt x="1282" y="83"/>
                      <a:pt x="1282" y="83"/>
                    </a:cubicBezTo>
                    <a:cubicBezTo>
                      <a:pt x="1282" y="83"/>
                      <a:pt x="1282" y="83"/>
                      <a:pt x="1282" y="83"/>
                    </a:cubicBezTo>
                    <a:cubicBezTo>
                      <a:pt x="1289" y="90"/>
                      <a:pt x="1289" y="90"/>
                      <a:pt x="1289" y="90"/>
                    </a:cubicBezTo>
                    <a:cubicBezTo>
                      <a:pt x="1299" y="100"/>
                      <a:pt x="1299" y="100"/>
                      <a:pt x="1299" y="100"/>
                    </a:cubicBezTo>
                    <a:cubicBezTo>
                      <a:pt x="1300" y="101"/>
                      <a:pt x="1300" y="101"/>
                      <a:pt x="1300" y="101"/>
                    </a:cubicBezTo>
                    <a:cubicBezTo>
                      <a:pt x="1301" y="102"/>
                      <a:pt x="1301" y="102"/>
                      <a:pt x="1301" y="102"/>
                    </a:cubicBezTo>
                    <a:cubicBezTo>
                      <a:pt x="1306" y="107"/>
                      <a:pt x="1306" y="107"/>
                      <a:pt x="1306" y="107"/>
                    </a:cubicBezTo>
                    <a:cubicBezTo>
                      <a:pt x="1309" y="112"/>
                      <a:pt x="1309" y="112"/>
                      <a:pt x="1309" y="112"/>
                    </a:cubicBezTo>
                    <a:cubicBezTo>
                      <a:pt x="1313" y="118"/>
                      <a:pt x="1313" y="118"/>
                      <a:pt x="1313" y="118"/>
                    </a:cubicBezTo>
                    <a:cubicBezTo>
                      <a:pt x="1314" y="120"/>
                      <a:pt x="1314" y="120"/>
                      <a:pt x="1314" y="120"/>
                    </a:cubicBezTo>
                    <a:lnTo>
                      <a:pt x="1316" y="128"/>
                    </a:ln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6" name="Freeform 11">
                <a:extLst>
                  <a:ext uri="{FF2B5EF4-FFF2-40B4-BE49-F238E27FC236}">
                    <a16:creationId xmlns:a16="http://schemas.microsoft.com/office/drawing/2014/main" id="{8B06BBD5-5E27-4BEA-9E6C-74B6597AC5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77" y="1730376"/>
                <a:ext cx="1608138" cy="1760538"/>
              </a:xfrm>
              <a:custGeom>
                <a:avLst/>
                <a:gdLst>
                  <a:gd name="T0" fmla="*/ 951 w 959"/>
                  <a:gd name="T1" fmla="*/ 610 h 1052"/>
                  <a:gd name="T2" fmla="*/ 931 w 959"/>
                  <a:gd name="T3" fmla="*/ 624 h 1052"/>
                  <a:gd name="T4" fmla="*/ 894 w 959"/>
                  <a:gd name="T5" fmla="*/ 691 h 1052"/>
                  <a:gd name="T6" fmla="*/ 827 w 959"/>
                  <a:gd name="T7" fmla="*/ 710 h 1052"/>
                  <a:gd name="T8" fmla="*/ 782 w 959"/>
                  <a:gd name="T9" fmla="*/ 731 h 1052"/>
                  <a:gd name="T10" fmla="*/ 788 w 959"/>
                  <a:gd name="T11" fmla="*/ 802 h 1052"/>
                  <a:gd name="T12" fmla="*/ 714 w 959"/>
                  <a:gd name="T13" fmla="*/ 791 h 1052"/>
                  <a:gd name="T14" fmla="*/ 668 w 959"/>
                  <a:gd name="T15" fmla="*/ 864 h 1052"/>
                  <a:gd name="T16" fmla="*/ 626 w 959"/>
                  <a:gd name="T17" fmla="*/ 922 h 1052"/>
                  <a:gd name="T18" fmla="*/ 574 w 959"/>
                  <a:gd name="T19" fmla="*/ 942 h 1052"/>
                  <a:gd name="T20" fmla="*/ 495 w 959"/>
                  <a:gd name="T21" fmla="*/ 979 h 1052"/>
                  <a:gd name="T22" fmla="*/ 428 w 959"/>
                  <a:gd name="T23" fmla="*/ 1017 h 1052"/>
                  <a:gd name="T24" fmla="*/ 369 w 959"/>
                  <a:gd name="T25" fmla="*/ 1036 h 1052"/>
                  <a:gd name="T26" fmla="*/ 255 w 959"/>
                  <a:gd name="T27" fmla="*/ 1032 h 1052"/>
                  <a:gd name="T28" fmla="*/ 184 w 959"/>
                  <a:gd name="T29" fmla="*/ 1007 h 1052"/>
                  <a:gd name="T30" fmla="*/ 231 w 959"/>
                  <a:gd name="T31" fmla="*/ 898 h 1052"/>
                  <a:gd name="T32" fmla="*/ 185 w 959"/>
                  <a:gd name="T33" fmla="*/ 862 h 1052"/>
                  <a:gd name="T34" fmla="*/ 61 w 959"/>
                  <a:gd name="T35" fmla="*/ 857 h 1052"/>
                  <a:gd name="T36" fmla="*/ 18 w 959"/>
                  <a:gd name="T37" fmla="*/ 845 h 1052"/>
                  <a:gd name="T38" fmla="*/ 2 w 959"/>
                  <a:gd name="T39" fmla="*/ 795 h 1052"/>
                  <a:gd name="T40" fmla="*/ 17 w 959"/>
                  <a:gd name="T41" fmla="*/ 758 h 1052"/>
                  <a:gd name="T42" fmla="*/ 2 w 959"/>
                  <a:gd name="T43" fmla="*/ 718 h 1052"/>
                  <a:gd name="T44" fmla="*/ 36 w 959"/>
                  <a:gd name="T45" fmla="*/ 686 h 1052"/>
                  <a:gd name="T46" fmla="*/ 19 w 959"/>
                  <a:gd name="T47" fmla="*/ 661 h 1052"/>
                  <a:gd name="T48" fmla="*/ 26 w 959"/>
                  <a:gd name="T49" fmla="*/ 627 h 1052"/>
                  <a:gd name="T50" fmla="*/ 30 w 959"/>
                  <a:gd name="T51" fmla="*/ 558 h 1052"/>
                  <a:gd name="T52" fmla="*/ 65 w 959"/>
                  <a:gd name="T53" fmla="*/ 525 h 1052"/>
                  <a:gd name="T54" fmla="*/ 98 w 959"/>
                  <a:gd name="T55" fmla="*/ 536 h 1052"/>
                  <a:gd name="T56" fmla="*/ 118 w 959"/>
                  <a:gd name="T57" fmla="*/ 564 h 1052"/>
                  <a:gd name="T58" fmla="*/ 178 w 959"/>
                  <a:gd name="T59" fmla="*/ 574 h 1052"/>
                  <a:gd name="T60" fmla="*/ 194 w 959"/>
                  <a:gd name="T61" fmla="*/ 569 h 1052"/>
                  <a:gd name="T62" fmla="*/ 216 w 959"/>
                  <a:gd name="T63" fmla="*/ 460 h 1052"/>
                  <a:gd name="T64" fmla="*/ 277 w 959"/>
                  <a:gd name="T65" fmla="*/ 411 h 1052"/>
                  <a:gd name="T66" fmla="*/ 301 w 959"/>
                  <a:gd name="T67" fmla="*/ 297 h 1052"/>
                  <a:gd name="T68" fmla="*/ 370 w 959"/>
                  <a:gd name="T69" fmla="*/ 281 h 1052"/>
                  <a:gd name="T70" fmla="*/ 349 w 959"/>
                  <a:gd name="T71" fmla="*/ 198 h 1052"/>
                  <a:gd name="T72" fmla="*/ 402 w 959"/>
                  <a:gd name="T73" fmla="*/ 115 h 1052"/>
                  <a:gd name="T74" fmla="*/ 367 w 959"/>
                  <a:gd name="T75" fmla="*/ 12 h 1052"/>
                  <a:gd name="T76" fmla="*/ 399 w 959"/>
                  <a:gd name="T77" fmla="*/ 7 h 1052"/>
                  <a:gd name="T78" fmla="*/ 478 w 959"/>
                  <a:gd name="T79" fmla="*/ 77 h 1052"/>
                  <a:gd name="T80" fmla="*/ 547 w 959"/>
                  <a:gd name="T81" fmla="*/ 118 h 1052"/>
                  <a:gd name="T82" fmla="*/ 615 w 959"/>
                  <a:gd name="T83" fmla="*/ 82 h 1052"/>
                  <a:gd name="T84" fmla="*/ 666 w 959"/>
                  <a:gd name="T85" fmla="*/ 108 h 1052"/>
                  <a:gd name="T86" fmla="*/ 737 w 959"/>
                  <a:gd name="T87" fmla="*/ 134 h 1052"/>
                  <a:gd name="T88" fmla="*/ 796 w 959"/>
                  <a:gd name="T89" fmla="*/ 143 h 1052"/>
                  <a:gd name="T90" fmla="*/ 791 w 959"/>
                  <a:gd name="T91" fmla="*/ 210 h 1052"/>
                  <a:gd name="T92" fmla="*/ 755 w 959"/>
                  <a:gd name="T93" fmla="*/ 284 h 1052"/>
                  <a:gd name="T94" fmla="*/ 756 w 959"/>
                  <a:gd name="T95" fmla="*/ 339 h 1052"/>
                  <a:gd name="T96" fmla="*/ 836 w 959"/>
                  <a:gd name="T97" fmla="*/ 354 h 1052"/>
                  <a:gd name="T98" fmla="*/ 909 w 959"/>
                  <a:gd name="T99" fmla="*/ 448 h 1052"/>
                  <a:gd name="T100" fmla="*/ 935 w 959"/>
                  <a:gd name="T101" fmla="*/ 510 h 1052"/>
                  <a:gd name="T102" fmla="*/ 945 w 959"/>
                  <a:gd name="T103" fmla="*/ 587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59" h="1052">
                    <a:moveTo>
                      <a:pt x="939" y="599"/>
                    </a:moveTo>
                    <a:cubicBezTo>
                      <a:pt x="937" y="598"/>
                      <a:pt x="944" y="616"/>
                      <a:pt x="950" y="610"/>
                    </a:cubicBezTo>
                    <a:cubicBezTo>
                      <a:pt x="951" y="610"/>
                      <a:pt x="951" y="610"/>
                      <a:pt x="951" y="610"/>
                    </a:cubicBezTo>
                    <a:cubicBezTo>
                      <a:pt x="951" y="610"/>
                      <a:pt x="951" y="611"/>
                      <a:pt x="952" y="612"/>
                    </a:cubicBezTo>
                    <a:cubicBezTo>
                      <a:pt x="952" y="620"/>
                      <a:pt x="947" y="625"/>
                      <a:pt x="939" y="619"/>
                    </a:cubicBezTo>
                    <a:cubicBezTo>
                      <a:pt x="940" y="622"/>
                      <a:pt x="934" y="622"/>
                      <a:pt x="931" y="624"/>
                    </a:cubicBezTo>
                    <a:cubicBezTo>
                      <a:pt x="920" y="626"/>
                      <a:pt x="930" y="639"/>
                      <a:pt x="916" y="648"/>
                    </a:cubicBezTo>
                    <a:cubicBezTo>
                      <a:pt x="926" y="653"/>
                      <a:pt x="924" y="671"/>
                      <a:pt x="928" y="684"/>
                    </a:cubicBezTo>
                    <a:cubicBezTo>
                      <a:pt x="927" y="696"/>
                      <a:pt x="903" y="687"/>
                      <a:pt x="894" y="691"/>
                    </a:cubicBezTo>
                    <a:cubicBezTo>
                      <a:pt x="884" y="698"/>
                      <a:pt x="874" y="692"/>
                      <a:pt x="864" y="696"/>
                    </a:cubicBezTo>
                    <a:cubicBezTo>
                      <a:pt x="856" y="692"/>
                      <a:pt x="853" y="703"/>
                      <a:pt x="842" y="704"/>
                    </a:cubicBezTo>
                    <a:cubicBezTo>
                      <a:pt x="833" y="697"/>
                      <a:pt x="824" y="699"/>
                      <a:pt x="827" y="710"/>
                    </a:cubicBezTo>
                    <a:cubicBezTo>
                      <a:pt x="832" y="718"/>
                      <a:pt x="827" y="722"/>
                      <a:pt x="820" y="726"/>
                    </a:cubicBezTo>
                    <a:cubicBezTo>
                      <a:pt x="810" y="728"/>
                      <a:pt x="804" y="723"/>
                      <a:pt x="797" y="719"/>
                    </a:cubicBezTo>
                    <a:cubicBezTo>
                      <a:pt x="792" y="724"/>
                      <a:pt x="788" y="727"/>
                      <a:pt x="782" y="731"/>
                    </a:cubicBezTo>
                    <a:cubicBezTo>
                      <a:pt x="777" y="737"/>
                      <a:pt x="782" y="741"/>
                      <a:pt x="785" y="752"/>
                    </a:cubicBezTo>
                    <a:cubicBezTo>
                      <a:pt x="786" y="758"/>
                      <a:pt x="788" y="770"/>
                      <a:pt x="791" y="776"/>
                    </a:cubicBezTo>
                    <a:cubicBezTo>
                      <a:pt x="790" y="787"/>
                      <a:pt x="794" y="793"/>
                      <a:pt x="788" y="802"/>
                    </a:cubicBezTo>
                    <a:cubicBezTo>
                      <a:pt x="779" y="806"/>
                      <a:pt x="769" y="814"/>
                      <a:pt x="761" y="821"/>
                    </a:cubicBezTo>
                    <a:cubicBezTo>
                      <a:pt x="750" y="828"/>
                      <a:pt x="759" y="802"/>
                      <a:pt x="746" y="800"/>
                    </a:cubicBezTo>
                    <a:cubicBezTo>
                      <a:pt x="738" y="790"/>
                      <a:pt x="723" y="787"/>
                      <a:pt x="714" y="791"/>
                    </a:cubicBezTo>
                    <a:cubicBezTo>
                      <a:pt x="720" y="808"/>
                      <a:pt x="710" y="816"/>
                      <a:pt x="700" y="826"/>
                    </a:cubicBezTo>
                    <a:cubicBezTo>
                      <a:pt x="690" y="820"/>
                      <a:pt x="667" y="818"/>
                      <a:pt x="675" y="834"/>
                    </a:cubicBezTo>
                    <a:cubicBezTo>
                      <a:pt x="685" y="846"/>
                      <a:pt x="686" y="855"/>
                      <a:pt x="668" y="864"/>
                    </a:cubicBezTo>
                    <a:cubicBezTo>
                      <a:pt x="655" y="870"/>
                      <a:pt x="654" y="879"/>
                      <a:pt x="644" y="879"/>
                    </a:cubicBezTo>
                    <a:cubicBezTo>
                      <a:pt x="641" y="892"/>
                      <a:pt x="637" y="912"/>
                      <a:pt x="626" y="921"/>
                    </a:cubicBezTo>
                    <a:cubicBezTo>
                      <a:pt x="626" y="922"/>
                      <a:pt x="626" y="922"/>
                      <a:pt x="626" y="922"/>
                    </a:cubicBezTo>
                    <a:cubicBezTo>
                      <a:pt x="625" y="920"/>
                      <a:pt x="623" y="919"/>
                      <a:pt x="621" y="918"/>
                    </a:cubicBezTo>
                    <a:cubicBezTo>
                      <a:pt x="615" y="923"/>
                      <a:pt x="610" y="933"/>
                      <a:pt x="597" y="932"/>
                    </a:cubicBezTo>
                    <a:cubicBezTo>
                      <a:pt x="596" y="940"/>
                      <a:pt x="580" y="930"/>
                      <a:pt x="574" y="942"/>
                    </a:cubicBezTo>
                    <a:cubicBezTo>
                      <a:pt x="564" y="948"/>
                      <a:pt x="550" y="950"/>
                      <a:pt x="536" y="951"/>
                    </a:cubicBezTo>
                    <a:cubicBezTo>
                      <a:pt x="530" y="939"/>
                      <a:pt x="515" y="955"/>
                      <a:pt x="519" y="964"/>
                    </a:cubicBezTo>
                    <a:cubicBezTo>
                      <a:pt x="522" y="977"/>
                      <a:pt x="505" y="984"/>
                      <a:pt x="495" y="979"/>
                    </a:cubicBezTo>
                    <a:cubicBezTo>
                      <a:pt x="481" y="980"/>
                      <a:pt x="481" y="994"/>
                      <a:pt x="468" y="998"/>
                    </a:cubicBezTo>
                    <a:cubicBezTo>
                      <a:pt x="458" y="1007"/>
                      <a:pt x="446" y="996"/>
                      <a:pt x="436" y="995"/>
                    </a:cubicBezTo>
                    <a:cubicBezTo>
                      <a:pt x="422" y="999"/>
                      <a:pt x="427" y="1007"/>
                      <a:pt x="428" y="1017"/>
                    </a:cubicBezTo>
                    <a:cubicBezTo>
                      <a:pt x="413" y="1025"/>
                      <a:pt x="416" y="1014"/>
                      <a:pt x="412" y="1007"/>
                    </a:cubicBezTo>
                    <a:cubicBezTo>
                      <a:pt x="405" y="1001"/>
                      <a:pt x="390" y="1014"/>
                      <a:pt x="388" y="1023"/>
                    </a:cubicBezTo>
                    <a:cubicBezTo>
                      <a:pt x="384" y="1035"/>
                      <a:pt x="357" y="1018"/>
                      <a:pt x="369" y="1036"/>
                    </a:cubicBezTo>
                    <a:cubicBezTo>
                      <a:pt x="361" y="1052"/>
                      <a:pt x="343" y="1040"/>
                      <a:pt x="330" y="1036"/>
                    </a:cubicBezTo>
                    <a:cubicBezTo>
                      <a:pt x="314" y="1031"/>
                      <a:pt x="301" y="1038"/>
                      <a:pt x="288" y="1045"/>
                    </a:cubicBezTo>
                    <a:cubicBezTo>
                      <a:pt x="268" y="1052"/>
                      <a:pt x="273" y="1024"/>
                      <a:pt x="255" y="1032"/>
                    </a:cubicBezTo>
                    <a:cubicBezTo>
                      <a:pt x="238" y="1041"/>
                      <a:pt x="232" y="1026"/>
                      <a:pt x="216" y="1026"/>
                    </a:cubicBezTo>
                    <a:cubicBezTo>
                      <a:pt x="202" y="1017"/>
                      <a:pt x="190" y="1024"/>
                      <a:pt x="184" y="1007"/>
                    </a:cubicBezTo>
                    <a:cubicBezTo>
                      <a:pt x="184" y="1007"/>
                      <a:pt x="184" y="1007"/>
                      <a:pt x="184" y="1007"/>
                    </a:cubicBezTo>
                    <a:cubicBezTo>
                      <a:pt x="188" y="1005"/>
                      <a:pt x="190" y="1003"/>
                      <a:pt x="192" y="1001"/>
                    </a:cubicBezTo>
                    <a:cubicBezTo>
                      <a:pt x="198" y="980"/>
                      <a:pt x="207" y="959"/>
                      <a:pt x="215" y="939"/>
                    </a:cubicBezTo>
                    <a:cubicBezTo>
                      <a:pt x="220" y="925"/>
                      <a:pt x="228" y="906"/>
                      <a:pt x="231" y="898"/>
                    </a:cubicBezTo>
                    <a:cubicBezTo>
                      <a:pt x="232" y="897"/>
                      <a:pt x="236" y="888"/>
                      <a:pt x="233" y="886"/>
                    </a:cubicBezTo>
                    <a:cubicBezTo>
                      <a:pt x="221" y="880"/>
                      <a:pt x="205" y="867"/>
                      <a:pt x="200" y="875"/>
                    </a:cubicBezTo>
                    <a:cubicBezTo>
                      <a:pt x="198" y="862"/>
                      <a:pt x="186" y="868"/>
                      <a:pt x="185" y="862"/>
                    </a:cubicBezTo>
                    <a:cubicBezTo>
                      <a:pt x="174" y="864"/>
                      <a:pt x="155" y="861"/>
                      <a:pt x="142" y="859"/>
                    </a:cubicBezTo>
                    <a:cubicBezTo>
                      <a:pt x="129" y="850"/>
                      <a:pt x="111" y="866"/>
                      <a:pt x="97" y="867"/>
                    </a:cubicBezTo>
                    <a:cubicBezTo>
                      <a:pt x="86" y="861"/>
                      <a:pt x="67" y="863"/>
                      <a:pt x="61" y="857"/>
                    </a:cubicBezTo>
                    <a:cubicBezTo>
                      <a:pt x="55" y="860"/>
                      <a:pt x="36" y="859"/>
                      <a:pt x="28" y="851"/>
                    </a:cubicBezTo>
                    <a:cubicBezTo>
                      <a:pt x="28" y="851"/>
                      <a:pt x="27" y="851"/>
                      <a:pt x="27" y="852"/>
                    </a:cubicBezTo>
                    <a:cubicBezTo>
                      <a:pt x="18" y="845"/>
                      <a:pt x="18" y="845"/>
                      <a:pt x="18" y="845"/>
                    </a:cubicBezTo>
                    <a:cubicBezTo>
                      <a:pt x="23" y="829"/>
                      <a:pt x="23" y="829"/>
                      <a:pt x="23" y="829"/>
                    </a:cubicBezTo>
                    <a:cubicBezTo>
                      <a:pt x="2" y="809"/>
                      <a:pt x="2" y="809"/>
                      <a:pt x="2" y="809"/>
                    </a:cubicBezTo>
                    <a:cubicBezTo>
                      <a:pt x="2" y="795"/>
                      <a:pt x="2" y="795"/>
                      <a:pt x="2" y="795"/>
                    </a:cubicBezTo>
                    <a:cubicBezTo>
                      <a:pt x="13" y="794"/>
                      <a:pt x="13" y="794"/>
                      <a:pt x="13" y="794"/>
                    </a:cubicBezTo>
                    <a:cubicBezTo>
                      <a:pt x="23" y="768"/>
                      <a:pt x="23" y="768"/>
                      <a:pt x="23" y="768"/>
                    </a:cubicBezTo>
                    <a:cubicBezTo>
                      <a:pt x="17" y="758"/>
                      <a:pt x="17" y="758"/>
                      <a:pt x="17" y="758"/>
                    </a:cubicBezTo>
                    <a:cubicBezTo>
                      <a:pt x="0" y="756"/>
                      <a:pt x="0" y="756"/>
                      <a:pt x="0" y="756"/>
                    </a:cubicBezTo>
                    <a:cubicBezTo>
                      <a:pt x="3" y="742"/>
                      <a:pt x="3" y="742"/>
                      <a:pt x="3" y="742"/>
                    </a:cubicBezTo>
                    <a:cubicBezTo>
                      <a:pt x="2" y="718"/>
                      <a:pt x="2" y="718"/>
                      <a:pt x="2" y="718"/>
                    </a:cubicBezTo>
                    <a:cubicBezTo>
                      <a:pt x="21" y="713"/>
                      <a:pt x="21" y="713"/>
                      <a:pt x="21" y="713"/>
                    </a:cubicBezTo>
                    <a:cubicBezTo>
                      <a:pt x="34" y="704"/>
                      <a:pt x="34" y="704"/>
                      <a:pt x="34" y="704"/>
                    </a:cubicBezTo>
                    <a:cubicBezTo>
                      <a:pt x="34" y="704"/>
                      <a:pt x="37" y="691"/>
                      <a:pt x="36" y="686"/>
                    </a:cubicBezTo>
                    <a:cubicBezTo>
                      <a:pt x="36" y="682"/>
                      <a:pt x="26" y="685"/>
                      <a:pt x="26" y="685"/>
                    </a:cubicBezTo>
                    <a:cubicBezTo>
                      <a:pt x="15" y="670"/>
                      <a:pt x="15" y="670"/>
                      <a:pt x="15" y="670"/>
                    </a:cubicBezTo>
                    <a:cubicBezTo>
                      <a:pt x="19" y="661"/>
                      <a:pt x="19" y="661"/>
                      <a:pt x="19" y="661"/>
                    </a:cubicBezTo>
                    <a:cubicBezTo>
                      <a:pt x="37" y="661"/>
                      <a:pt x="37" y="661"/>
                      <a:pt x="37" y="661"/>
                    </a:cubicBezTo>
                    <a:cubicBezTo>
                      <a:pt x="38" y="637"/>
                      <a:pt x="38" y="637"/>
                      <a:pt x="38" y="637"/>
                    </a:cubicBezTo>
                    <a:cubicBezTo>
                      <a:pt x="26" y="627"/>
                      <a:pt x="26" y="627"/>
                      <a:pt x="26" y="627"/>
                    </a:cubicBezTo>
                    <a:cubicBezTo>
                      <a:pt x="20" y="589"/>
                      <a:pt x="20" y="589"/>
                      <a:pt x="20" y="589"/>
                    </a:cubicBezTo>
                    <a:cubicBezTo>
                      <a:pt x="20" y="589"/>
                      <a:pt x="31" y="576"/>
                      <a:pt x="30" y="573"/>
                    </a:cubicBezTo>
                    <a:cubicBezTo>
                      <a:pt x="29" y="569"/>
                      <a:pt x="30" y="558"/>
                      <a:pt x="30" y="558"/>
                    </a:cubicBezTo>
                    <a:cubicBezTo>
                      <a:pt x="43" y="558"/>
                      <a:pt x="43" y="558"/>
                      <a:pt x="43" y="558"/>
                    </a:cubicBezTo>
                    <a:cubicBezTo>
                      <a:pt x="43" y="558"/>
                      <a:pt x="50" y="545"/>
                      <a:pt x="50" y="542"/>
                    </a:cubicBezTo>
                    <a:cubicBezTo>
                      <a:pt x="50" y="540"/>
                      <a:pt x="65" y="525"/>
                      <a:pt x="65" y="525"/>
                    </a:cubicBezTo>
                    <a:cubicBezTo>
                      <a:pt x="80" y="535"/>
                      <a:pt x="80" y="535"/>
                      <a:pt x="80" y="535"/>
                    </a:cubicBezTo>
                    <a:cubicBezTo>
                      <a:pt x="84" y="524"/>
                      <a:pt x="84" y="524"/>
                      <a:pt x="84" y="524"/>
                    </a:cubicBezTo>
                    <a:cubicBezTo>
                      <a:pt x="98" y="536"/>
                      <a:pt x="98" y="536"/>
                      <a:pt x="98" y="536"/>
                    </a:cubicBezTo>
                    <a:cubicBezTo>
                      <a:pt x="100" y="555"/>
                      <a:pt x="100" y="555"/>
                      <a:pt x="100" y="555"/>
                    </a:cubicBezTo>
                    <a:cubicBezTo>
                      <a:pt x="108" y="557"/>
                      <a:pt x="108" y="557"/>
                      <a:pt x="108" y="557"/>
                    </a:cubicBezTo>
                    <a:cubicBezTo>
                      <a:pt x="118" y="564"/>
                      <a:pt x="118" y="564"/>
                      <a:pt x="118" y="564"/>
                    </a:cubicBezTo>
                    <a:cubicBezTo>
                      <a:pt x="134" y="558"/>
                      <a:pt x="134" y="558"/>
                      <a:pt x="134" y="558"/>
                    </a:cubicBezTo>
                    <a:cubicBezTo>
                      <a:pt x="169" y="588"/>
                      <a:pt x="169" y="588"/>
                      <a:pt x="169" y="588"/>
                    </a:cubicBezTo>
                    <a:cubicBezTo>
                      <a:pt x="178" y="574"/>
                      <a:pt x="178" y="574"/>
                      <a:pt x="178" y="574"/>
                    </a:cubicBezTo>
                    <a:cubicBezTo>
                      <a:pt x="185" y="578"/>
                      <a:pt x="185" y="578"/>
                      <a:pt x="185" y="578"/>
                    </a:cubicBezTo>
                    <a:cubicBezTo>
                      <a:pt x="193" y="570"/>
                      <a:pt x="193" y="570"/>
                      <a:pt x="193" y="570"/>
                    </a:cubicBezTo>
                    <a:cubicBezTo>
                      <a:pt x="194" y="570"/>
                      <a:pt x="194" y="569"/>
                      <a:pt x="194" y="569"/>
                    </a:cubicBezTo>
                    <a:cubicBezTo>
                      <a:pt x="207" y="559"/>
                      <a:pt x="228" y="557"/>
                      <a:pt x="227" y="540"/>
                    </a:cubicBezTo>
                    <a:cubicBezTo>
                      <a:pt x="227" y="524"/>
                      <a:pt x="234" y="506"/>
                      <a:pt x="230" y="491"/>
                    </a:cubicBezTo>
                    <a:cubicBezTo>
                      <a:pt x="227" y="481"/>
                      <a:pt x="203" y="466"/>
                      <a:pt x="216" y="460"/>
                    </a:cubicBezTo>
                    <a:cubicBezTo>
                      <a:pt x="228" y="453"/>
                      <a:pt x="245" y="450"/>
                      <a:pt x="251" y="437"/>
                    </a:cubicBezTo>
                    <a:cubicBezTo>
                      <a:pt x="252" y="435"/>
                      <a:pt x="253" y="431"/>
                      <a:pt x="253" y="428"/>
                    </a:cubicBezTo>
                    <a:cubicBezTo>
                      <a:pt x="255" y="416"/>
                      <a:pt x="265" y="397"/>
                      <a:pt x="277" y="411"/>
                    </a:cubicBezTo>
                    <a:cubicBezTo>
                      <a:pt x="288" y="425"/>
                      <a:pt x="298" y="399"/>
                      <a:pt x="305" y="393"/>
                    </a:cubicBezTo>
                    <a:cubicBezTo>
                      <a:pt x="312" y="373"/>
                      <a:pt x="308" y="350"/>
                      <a:pt x="314" y="330"/>
                    </a:cubicBezTo>
                    <a:cubicBezTo>
                      <a:pt x="311" y="318"/>
                      <a:pt x="288" y="309"/>
                      <a:pt x="301" y="297"/>
                    </a:cubicBezTo>
                    <a:cubicBezTo>
                      <a:pt x="314" y="289"/>
                      <a:pt x="316" y="274"/>
                      <a:pt x="331" y="287"/>
                    </a:cubicBezTo>
                    <a:cubicBezTo>
                      <a:pt x="343" y="295"/>
                      <a:pt x="338" y="309"/>
                      <a:pt x="350" y="317"/>
                    </a:cubicBezTo>
                    <a:cubicBezTo>
                      <a:pt x="362" y="320"/>
                      <a:pt x="361" y="291"/>
                      <a:pt x="370" y="281"/>
                    </a:cubicBezTo>
                    <a:cubicBezTo>
                      <a:pt x="383" y="271"/>
                      <a:pt x="373" y="261"/>
                      <a:pt x="362" y="260"/>
                    </a:cubicBezTo>
                    <a:cubicBezTo>
                      <a:pt x="347" y="256"/>
                      <a:pt x="332" y="242"/>
                      <a:pt x="347" y="229"/>
                    </a:cubicBezTo>
                    <a:cubicBezTo>
                      <a:pt x="362" y="219"/>
                      <a:pt x="337" y="204"/>
                      <a:pt x="349" y="198"/>
                    </a:cubicBezTo>
                    <a:cubicBezTo>
                      <a:pt x="354" y="192"/>
                      <a:pt x="361" y="185"/>
                      <a:pt x="364" y="175"/>
                    </a:cubicBezTo>
                    <a:cubicBezTo>
                      <a:pt x="368" y="161"/>
                      <a:pt x="376" y="156"/>
                      <a:pt x="388" y="147"/>
                    </a:cubicBezTo>
                    <a:cubicBezTo>
                      <a:pt x="389" y="139"/>
                      <a:pt x="397" y="126"/>
                      <a:pt x="402" y="115"/>
                    </a:cubicBezTo>
                    <a:cubicBezTo>
                      <a:pt x="400" y="101"/>
                      <a:pt x="420" y="91"/>
                      <a:pt x="405" y="82"/>
                    </a:cubicBezTo>
                    <a:cubicBezTo>
                      <a:pt x="407" y="69"/>
                      <a:pt x="392" y="65"/>
                      <a:pt x="397" y="53"/>
                    </a:cubicBezTo>
                    <a:cubicBezTo>
                      <a:pt x="396" y="36"/>
                      <a:pt x="379" y="23"/>
                      <a:pt x="367" y="12"/>
                    </a:cubicBezTo>
                    <a:cubicBezTo>
                      <a:pt x="359" y="0"/>
                      <a:pt x="362" y="1"/>
                      <a:pt x="370" y="4"/>
                    </a:cubicBezTo>
                    <a:cubicBezTo>
                      <a:pt x="377" y="0"/>
                      <a:pt x="383" y="0"/>
                      <a:pt x="384" y="1"/>
                    </a:cubicBezTo>
                    <a:cubicBezTo>
                      <a:pt x="390" y="2"/>
                      <a:pt x="395" y="4"/>
                      <a:pt x="399" y="7"/>
                    </a:cubicBezTo>
                    <a:cubicBezTo>
                      <a:pt x="403" y="8"/>
                      <a:pt x="412" y="12"/>
                      <a:pt x="416" y="16"/>
                    </a:cubicBezTo>
                    <a:cubicBezTo>
                      <a:pt x="414" y="18"/>
                      <a:pt x="413" y="20"/>
                      <a:pt x="423" y="24"/>
                    </a:cubicBezTo>
                    <a:cubicBezTo>
                      <a:pt x="440" y="42"/>
                      <a:pt x="458" y="63"/>
                      <a:pt x="478" y="77"/>
                    </a:cubicBezTo>
                    <a:cubicBezTo>
                      <a:pt x="499" y="76"/>
                      <a:pt x="506" y="82"/>
                      <a:pt x="486" y="94"/>
                    </a:cubicBezTo>
                    <a:cubicBezTo>
                      <a:pt x="505" y="95"/>
                      <a:pt x="489" y="108"/>
                      <a:pt x="502" y="115"/>
                    </a:cubicBezTo>
                    <a:cubicBezTo>
                      <a:pt x="516" y="120"/>
                      <a:pt x="531" y="120"/>
                      <a:pt x="547" y="118"/>
                    </a:cubicBezTo>
                    <a:cubicBezTo>
                      <a:pt x="571" y="119"/>
                      <a:pt x="532" y="110"/>
                      <a:pt x="549" y="97"/>
                    </a:cubicBezTo>
                    <a:cubicBezTo>
                      <a:pt x="563" y="97"/>
                      <a:pt x="572" y="100"/>
                      <a:pt x="583" y="91"/>
                    </a:cubicBezTo>
                    <a:cubicBezTo>
                      <a:pt x="594" y="82"/>
                      <a:pt x="604" y="69"/>
                      <a:pt x="615" y="82"/>
                    </a:cubicBezTo>
                    <a:cubicBezTo>
                      <a:pt x="627" y="88"/>
                      <a:pt x="631" y="93"/>
                      <a:pt x="631" y="108"/>
                    </a:cubicBezTo>
                    <a:cubicBezTo>
                      <a:pt x="625" y="113"/>
                      <a:pt x="634" y="123"/>
                      <a:pt x="641" y="121"/>
                    </a:cubicBezTo>
                    <a:cubicBezTo>
                      <a:pt x="653" y="121"/>
                      <a:pt x="656" y="116"/>
                      <a:pt x="666" y="108"/>
                    </a:cubicBezTo>
                    <a:cubicBezTo>
                      <a:pt x="675" y="92"/>
                      <a:pt x="673" y="117"/>
                      <a:pt x="684" y="116"/>
                    </a:cubicBezTo>
                    <a:cubicBezTo>
                      <a:pt x="697" y="122"/>
                      <a:pt x="699" y="129"/>
                      <a:pt x="711" y="131"/>
                    </a:cubicBezTo>
                    <a:cubicBezTo>
                      <a:pt x="717" y="118"/>
                      <a:pt x="726" y="133"/>
                      <a:pt x="737" y="134"/>
                    </a:cubicBezTo>
                    <a:cubicBezTo>
                      <a:pt x="747" y="136"/>
                      <a:pt x="748" y="104"/>
                      <a:pt x="759" y="119"/>
                    </a:cubicBezTo>
                    <a:cubicBezTo>
                      <a:pt x="758" y="128"/>
                      <a:pt x="748" y="136"/>
                      <a:pt x="769" y="138"/>
                    </a:cubicBezTo>
                    <a:cubicBezTo>
                      <a:pt x="778" y="130"/>
                      <a:pt x="786" y="160"/>
                      <a:pt x="796" y="143"/>
                    </a:cubicBezTo>
                    <a:cubicBezTo>
                      <a:pt x="805" y="132"/>
                      <a:pt x="813" y="144"/>
                      <a:pt x="816" y="153"/>
                    </a:cubicBezTo>
                    <a:cubicBezTo>
                      <a:pt x="815" y="167"/>
                      <a:pt x="826" y="179"/>
                      <a:pt x="815" y="191"/>
                    </a:cubicBezTo>
                    <a:cubicBezTo>
                      <a:pt x="800" y="189"/>
                      <a:pt x="796" y="200"/>
                      <a:pt x="791" y="210"/>
                    </a:cubicBezTo>
                    <a:cubicBezTo>
                      <a:pt x="795" y="221"/>
                      <a:pt x="785" y="231"/>
                      <a:pt x="788" y="243"/>
                    </a:cubicBezTo>
                    <a:cubicBezTo>
                      <a:pt x="775" y="238"/>
                      <a:pt x="763" y="247"/>
                      <a:pt x="761" y="259"/>
                    </a:cubicBezTo>
                    <a:cubicBezTo>
                      <a:pt x="767" y="273"/>
                      <a:pt x="744" y="270"/>
                      <a:pt x="755" y="284"/>
                    </a:cubicBezTo>
                    <a:cubicBezTo>
                      <a:pt x="760" y="294"/>
                      <a:pt x="751" y="302"/>
                      <a:pt x="749" y="314"/>
                    </a:cubicBezTo>
                    <a:cubicBezTo>
                      <a:pt x="739" y="324"/>
                      <a:pt x="729" y="334"/>
                      <a:pt x="743" y="346"/>
                    </a:cubicBezTo>
                    <a:cubicBezTo>
                      <a:pt x="749" y="344"/>
                      <a:pt x="750" y="324"/>
                      <a:pt x="756" y="339"/>
                    </a:cubicBezTo>
                    <a:cubicBezTo>
                      <a:pt x="756" y="353"/>
                      <a:pt x="774" y="348"/>
                      <a:pt x="776" y="334"/>
                    </a:cubicBezTo>
                    <a:cubicBezTo>
                      <a:pt x="775" y="328"/>
                      <a:pt x="793" y="346"/>
                      <a:pt x="797" y="351"/>
                    </a:cubicBezTo>
                    <a:cubicBezTo>
                      <a:pt x="807" y="367"/>
                      <a:pt x="827" y="340"/>
                      <a:pt x="836" y="354"/>
                    </a:cubicBezTo>
                    <a:cubicBezTo>
                      <a:pt x="856" y="362"/>
                      <a:pt x="854" y="385"/>
                      <a:pt x="857" y="401"/>
                    </a:cubicBezTo>
                    <a:cubicBezTo>
                      <a:pt x="860" y="418"/>
                      <a:pt x="889" y="405"/>
                      <a:pt x="885" y="424"/>
                    </a:cubicBezTo>
                    <a:cubicBezTo>
                      <a:pt x="884" y="439"/>
                      <a:pt x="899" y="442"/>
                      <a:pt x="909" y="448"/>
                    </a:cubicBezTo>
                    <a:cubicBezTo>
                      <a:pt x="921" y="454"/>
                      <a:pt x="929" y="452"/>
                      <a:pt x="926" y="467"/>
                    </a:cubicBezTo>
                    <a:cubicBezTo>
                      <a:pt x="919" y="472"/>
                      <a:pt x="930" y="485"/>
                      <a:pt x="924" y="490"/>
                    </a:cubicBezTo>
                    <a:cubicBezTo>
                      <a:pt x="923" y="498"/>
                      <a:pt x="935" y="491"/>
                      <a:pt x="935" y="510"/>
                    </a:cubicBezTo>
                    <a:cubicBezTo>
                      <a:pt x="953" y="513"/>
                      <a:pt x="945" y="523"/>
                      <a:pt x="945" y="537"/>
                    </a:cubicBezTo>
                    <a:cubicBezTo>
                      <a:pt x="940" y="551"/>
                      <a:pt x="959" y="557"/>
                      <a:pt x="952" y="571"/>
                    </a:cubicBezTo>
                    <a:cubicBezTo>
                      <a:pt x="950" y="580"/>
                      <a:pt x="945" y="584"/>
                      <a:pt x="945" y="587"/>
                    </a:cubicBezTo>
                    <a:cubicBezTo>
                      <a:pt x="938" y="591"/>
                      <a:pt x="948" y="596"/>
                      <a:pt x="939" y="599"/>
                    </a:cubicBez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7" name="Freeform 12">
                <a:extLst>
                  <a:ext uri="{FF2B5EF4-FFF2-40B4-BE49-F238E27FC236}">
                    <a16:creationId xmlns:a16="http://schemas.microsoft.com/office/drawing/2014/main" id="{B13E5DAC-7123-48FA-862F-FB4F6B2AF1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4028" y="785813"/>
                <a:ext cx="2028826" cy="2001839"/>
              </a:xfrm>
              <a:custGeom>
                <a:avLst/>
                <a:gdLst>
                  <a:gd name="T0" fmla="*/ 51 w 1210"/>
                  <a:gd name="T1" fmla="*/ 573 h 1197"/>
                  <a:gd name="T2" fmla="*/ 134 w 1210"/>
                  <a:gd name="T3" fmla="*/ 555 h 1197"/>
                  <a:gd name="T4" fmla="*/ 234 w 1210"/>
                  <a:gd name="T5" fmla="*/ 538 h 1197"/>
                  <a:gd name="T6" fmla="*/ 348 w 1210"/>
                  <a:gd name="T7" fmla="*/ 534 h 1197"/>
                  <a:gd name="T8" fmla="*/ 326 w 1210"/>
                  <a:gd name="T9" fmla="*/ 412 h 1197"/>
                  <a:gd name="T10" fmla="*/ 291 w 1210"/>
                  <a:gd name="T11" fmla="*/ 312 h 1197"/>
                  <a:gd name="T12" fmla="*/ 236 w 1210"/>
                  <a:gd name="T13" fmla="*/ 179 h 1197"/>
                  <a:gd name="T14" fmla="*/ 255 w 1210"/>
                  <a:gd name="T15" fmla="*/ 124 h 1197"/>
                  <a:gd name="T16" fmla="*/ 281 w 1210"/>
                  <a:gd name="T17" fmla="*/ 104 h 1197"/>
                  <a:gd name="T18" fmla="*/ 289 w 1210"/>
                  <a:gd name="T19" fmla="*/ 63 h 1197"/>
                  <a:gd name="T20" fmla="*/ 322 w 1210"/>
                  <a:gd name="T21" fmla="*/ 33 h 1197"/>
                  <a:gd name="T22" fmla="*/ 339 w 1210"/>
                  <a:gd name="T23" fmla="*/ 52 h 1197"/>
                  <a:gd name="T24" fmla="*/ 339 w 1210"/>
                  <a:gd name="T25" fmla="*/ 87 h 1197"/>
                  <a:gd name="T26" fmla="*/ 379 w 1210"/>
                  <a:gd name="T27" fmla="*/ 70 h 1197"/>
                  <a:gd name="T28" fmla="*/ 376 w 1210"/>
                  <a:gd name="T29" fmla="*/ 1 h 1197"/>
                  <a:gd name="T30" fmla="*/ 390 w 1210"/>
                  <a:gd name="T31" fmla="*/ 29 h 1197"/>
                  <a:gd name="T32" fmla="*/ 411 w 1210"/>
                  <a:gd name="T33" fmla="*/ 31 h 1197"/>
                  <a:gd name="T34" fmla="*/ 436 w 1210"/>
                  <a:gd name="T35" fmla="*/ 21 h 1197"/>
                  <a:gd name="T36" fmla="*/ 442 w 1210"/>
                  <a:gd name="T37" fmla="*/ 30 h 1197"/>
                  <a:gd name="T38" fmla="*/ 483 w 1210"/>
                  <a:gd name="T39" fmla="*/ 52 h 1197"/>
                  <a:gd name="T40" fmla="*/ 491 w 1210"/>
                  <a:gd name="T41" fmla="*/ 77 h 1197"/>
                  <a:gd name="T42" fmla="*/ 583 w 1210"/>
                  <a:gd name="T43" fmla="*/ 77 h 1197"/>
                  <a:gd name="T44" fmla="*/ 635 w 1210"/>
                  <a:gd name="T45" fmla="*/ 93 h 1197"/>
                  <a:gd name="T46" fmla="*/ 689 w 1210"/>
                  <a:gd name="T47" fmla="*/ 126 h 1197"/>
                  <a:gd name="T48" fmla="*/ 749 w 1210"/>
                  <a:gd name="T49" fmla="*/ 136 h 1197"/>
                  <a:gd name="T50" fmla="*/ 793 w 1210"/>
                  <a:gd name="T51" fmla="*/ 160 h 1197"/>
                  <a:gd name="T52" fmla="*/ 840 w 1210"/>
                  <a:gd name="T53" fmla="*/ 197 h 1197"/>
                  <a:gd name="T54" fmla="*/ 854 w 1210"/>
                  <a:gd name="T55" fmla="*/ 184 h 1197"/>
                  <a:gd name="T56" fmla="*/ 898 w 1210"/>
                  <a:gd name="T57" fmla="*/ 177 h 1197"/>
                  <a:gd name="T58" fmla="*/ 888 w 1210"/>
                  <a:gd name="T59" fmla="*/ 134 h 1197"/>
                  <a:gd name="T60" fmla="*/ 916 w 1210"/>
                  <a:gd name="T61" fmla="*/ 134 h 1197"/>
                  <a:gd name="T62" fmla="*/ 967 w 1210"/>
                  <a:gd name="T63" fmla="*/ 143 h 1197"/>
                  <a:gd name="T64" fmla="*/ 1001 w 1210"/>
                  <a:gd name="T65" fmla="*/ 158 h 1197"/>
                  <a:gd name="T66" fmla="*/ 1045 w 1210"/>
                  <a:gd name="T67" fmla="*/ 180 h 1197"/>
                  <a:gd name="T68" fmla="*/ 1056 w 1210"/>
                  <a:gd name="T69" fmla="*/ 208 h 1197"/>
                  <a:gd name="T70" fmla="*/ 1138 w 1210"/>
                  <a:gd name="T71" fmla="*/ 255 h 1197"/>
                  <a:gd name="T72" fmla="*/ 1188 w 1210"/>
                  <a:gd name="T73" fmla="*/ 353 h 1197"/>
                  <a:gd name="T74" fmla="*/ 1083 w 1210"/>
                  <a:gd name="T75" fmla="*/ 376 h 1197"/>
                  <a:gd name="T76" fmla="*/ 1008 w 1210"/>
                  <a:gd name="T77" fmla="*/ 351 h 1197"/>
                  <a:gd name="T78" fmla="*/ 1019 w 1210"/>
                  <a:gd name="T79" fmla="*/ 402 h 1197"/>
                  <a:gd name="T80" fmla="*/ 1066 w 1210"/>
                  <a:gd name="T81" fmla="*/ 443 h 1197"/>
                  <a:gd name="T82" fmla="*/ 1020 w 1210"/>
                  <a:gd name="T83" fmla="*/ 532 h 1197"/>
                  <a:gd name="T84" fmla="*/ 1110 w 1210"/>
                  <a:gd name="T85" fmla="*/ 578 h 1197"/>
                  <a:gd name="T86" fmla="*/ 1183 w 1210"/>
                  <a:gd name="T87" fmla="*/ 698 h 1197"/>
                  <a:gd name="T88" fmla="*/ 1168 w 1210"/>
                  <a:gd name="T89" fmla="*/ 772 h 1197"/>
                  <a:gd name="T90" fmla="*/ 1083 w 1210"/>
                  <a:gd name="T91" fmla="*/ 936 h 1197"/>
                  <a:gd name="T92" fmla="*/ 1045 w 1210"/>
                  <a:gd name="T93" fmla="*/ 1036 h 1197"/>
                  <a:gd name="T94" fmla="*/ 991 w 1210"/>
                  <a:gd name="T95" fmla="*/ 1048 h 1197"/>
                  <a:gd name="T96" fmla="*/ 819 w 1210"/>
                  <a:gd name="T97" fmla="*/ 1088 h 1197"/>
                  <a:gd name="T98" fmla="*/ 765 w 1210"/>
                  <a:gd name="T99" fmla="*/ 1177 h 1197"/>
                  <a:gd name="T100" fmla="*/ 690 w 1210"/>
                  <a:gd name="T101" fmla="*/ 1127 h 1197"/>
                  <a:gd name="T102" fmla="*/ 571 w 1210"/>
                  <a:gd name="T103" fmla="*/ 1171 h 1197"/>
                  <a:gd name="T104" fmla="*/ 532 w 1210"/>
                  <a:gd name="T105" fmla="*/ 1152 h 1197"/>
                  <a:gd name="T106" fmla="*/ 511 w 1210"/>
                  <a:gd name="T107" fmla="*/ 1055 h 1197"/>
                  <a:gd name="T108" fmla="*/ 444 w 1210"/>
                  <a:gd name="T109" fmla="*/ 966 h 1197"/>
                  <a:gd name="T110" fmla="*/ 343 w 1210"/>
                  <a:gd name="T111" fmla="*/ 904 h 1197"/>
                  <a:gd name="T112" fmla="*/ 348 w 1210"/>
                  <a:gd name="T113" fmla="*/ 824 h 1197"/>
                  <a:gd name="T114" fmla="*/ 403 w 1210"/>
                  <a:gd name="T115" fmla="*/ 718 h 1197"/>
                  <a:gd name="T116" fmla="*/ 324 w 1210"/>
                  <a:gd name="T117" fmla="*/ 699 h 1197"/>
                  <a:gd name="T118" fmla="*/ 228 w 1210"/>
                  <a:gd name="T119" fmla="*/ 686 h 1197"/>
                  <a:gd name="T120" fmla="*/ 136 w 1210"/>
                  <a:gd name="T121" fmla="*/ 662 h 1197"/>
                  <a:gd name="T122" fmla="*/ 65 w 1210"/>
                  <a:gd name="T123" fmla="*/ 642 h 1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0" h="1197">
                    <a:moveTo>
                      <a:pt x="3" y="581"/>
                    </a:moveTo>
                    <a:cubicBezTo>
                      <a:pt x="7" y="579"/>
                      <a:pt x="13" y="578"/>
                      <a:pt x="10" y="578"/>
                    </a:cubicBezTo>
                    <a:cubicBezTo>
                      <a:pt x="17" y="574"/>
                      <a:pt x="25" y="564"/>
                      <a:pt x="24" y="568"/>
                    </a:cubicBezTo>
                    <a:cubicBezTo>
                      <a:pt x="29" y="571"/>
                      <a:pt x="44" y="563"/>
                      <a:pt x="51" y="573"/>
                    </a:cubicBezTo>
                    <a:cubicBezTo>
                      <a:pt x="59" y="584"/>
                      <a:pt x="75" y="586"/>
                      <a:pt x="83" y="592"/>
                    </a:cubicBezTo>
                    <a:cubicBezTo>
                      <a:pt x="92" y="600"/>
                      <a:pt x="103" y="589"/>
                      <a:pt x="102" y="579"/>
                    </a:cubicBezTo>
                    <a:cubicBezTo>
                      <a:pt x="92" y="569"/>
                      <a:pt x="101" y="564"/>
                      <a:pt x="116" y="560"/>
                    </a:cubicBezTo>
                    <a:cubicBezTo>
                      <a:pt x="126" y="570"/>
                      <a:pt x="126" y="559"/>
                      <a:pt x="134" y="555"/>
                    </a:cubicBezTo>
                    <a:cubicBezTo>
                      <a:pt x="141" y="545"/>
                      <a:pt x="152" y="555"/>
                      <a:pt x="160" y="553"/>
                    </a:cubicBezTo>
                    <a:cubicBezTo>
                      <a:pt x="167" y="552"/>
                      <a:pt x="183" y="555"/>
                      <a:pt x="188" y="547"/>
                    </a:cubicBezTo>
                    <a:cubicBezTo>
                      <a:pt x="190" y="540"/>
                      <a:pt x="195" y="528"/>
                      <a:pt x="209" y="531"/>
                    </a:cubicBezTo>
                    <a:cubicBezTo>
                      <a:pt x="222" y="530"/>
                      <a:pt x="226" y="537"/>
                      <a:pt x="234" y="538"/>
                    </a:cubicBezTo>
                    <a:cubicBezTo>
                      <a:pt x="257" y="541"/>
                      <a:pt x="276" y="543"/>
                      <a:pt x="298" y="544"/>
                    </a:cubicBezTo>
                    <a:cubicBezTo>
                      <a:pt x="299" y="563"/>
                      <a:pt x="315" y="565"/>
                      <a:pt x="323" y="570"/>
                    </a:cubicBezTo>
                    <a:cubicBezTo>
                      <a:pt x="333" y="569"/>
                      <a:pt x="359" y="568"/>
                      <a:pt x="352" y="557"/>
                    </a:cubicBezTo>
                    <a:cubicBezTo>
                      <a:pt x="343" y="551"/>
                      <a:pt x="353" y="544"/>
                      <a:pt x="348" y="534"/>
                    </a:cubicBezTo>
                    <a:cubicBezTo>
                      <a:pt x="345" y="528"/>
                      <a:pt x="335" y="511"/>
                      <a:pt x="344" y="502"/>
                    </a:cubicBezTo>
                    <a:cubicBezTo>
                      <a:pt x="335" y="492"/>
                      <a:pt x="343" y="476"/>
                      <a:pt x="336" y="468"/>
                    </a:cubicBezTo>
                    <a:cubicBezTo>
                      <a:pt x="334" y="456"/>
                      <a:pt x="342" y="445"/>
                      <a:pt x="333" y="435"/>
                    </a:cubicBezTo>
                    <a:cubicBezTo>
                      <a:pt x="335" y="427"/>
                      <a:pt x="329" y="417"/>
                      <a:pt x="326" y="412"/>
                    </a:cubicBezTo>
                    <a:cubicBezTo>
                      <a:pt x="323" y="402"/>
                      <a:pt x="308" y="390"/>
                      <a:pt x="305" y="383"/>
                    </a:cubicBezTo>
                    <a:cubicBezTo>
                      <a:pt x="308" y="370"/>
                      <a:pt x="292" y="364"/>
                      <a:pt x="297" y="355"/>
                    </a:cubicBezTo>
                    <a:cubicBezTo>
                      <a:pt x="298" y="352"/>
                      <a:pt x="291" y="340"/>
                      <a:pt x="303" y="331"/>
                    </a:cubicBezTo>
                    <a:cubicBezTo>
                      <a:pt x="308" y="322"/>
                      <a:pt x="298" y="307"/>
                      <a:pt x="291" y="312"/>
                    </a:cubicBezTo>
                    <a:cubicBezTo>
                      <a:pt x="296" y="291"/>
                      <a:pt x="271" y="305"/>
                      <a:pt x="267" y="297"/>
                    </a:cubicBezTo>
                    <a:cubicBezTo>
                      <a:pt x="253" y="297"/>
                      <a:pt x="261" y="269"/>
                      <a:pt x="255" y="257"/>
                    </a:cubicBezTo>
                    <a:cubicBezTo>
                      <a:pt x="253" y="240"/>
                      <a:pt x="253" y="219"/>
                      <a:pt x="247" y="204"/>
                    </a:cubicBezTo>
                    <a:cubicBezTo>
                      <a:pt x="247" y="193"/>
                      <a:pt x="242" y="191"/>
                      <a:pt x="236" y="179"/>
                    </a:cubicBezTo>
                    <a:cubicBezTo>
                      <a:pt x="238" y="170"/>
                      <a:pt x="224" y="173"/>
                      <a:pt x="221" y="169"/>
                    </a:cubicBezTo>
                    <a:cubicBezTo>
                      <a:pt x="227" y="162"/>
                      <a:pt x="222" y="151"/>
                      <a:pt x="217" y="151"/>
                    </a:cubicBezTo>
                    <a:cubicBezTo>
                      <a:pt x="216" y="145"/>
                      <a:pt x="225" y="138"/>
                      <a:pt x="236" y="138"/>
                    </a:cubicBezTo>
                    <a:cubicBezTo>
                      <a:pt x="243" y="136"/>
                      <a:pt x="254" y="135"/>
                      <a:pt x="255" y="124"/>
                    </a:cubicBezTo>
                    <a:cubicBezTo>
                      <a:pt x="256" y="119"/>
                      <a:pt x="254" y="116"/>
                      <a:pt x="252" y="114"/>
                    </a:cubicBezTo>
                    <a:cubicBezTo>
                      <a:pt x="261" y="111"/>
                      <a:pt x="261" y="111"/>
                      <a:pt x="261" y="111"/>
                    </a:cubicBezTo>
                    <a:cubicBezTo>
                      <a:pt x="270" y="104"/>
                      <a:pt x="270" y="104"/>
                      <a:pt x="270" y="104"/>
                    </a:cubicBezTo>
                    <a:cubicBezTo>
                      <a:pt x="281" y="104"/>
                      <a:pt x="281" y="104"/>
                      <a:pt x="281" y="104"/>
                    </a:cubicBezTo>
                    <a:cubicBezTo>
                      <a:pt x="286" y="99"/>
                      <a:pt x="286" y="99"/>
                      <a:pt x="286" y="99"/>
                    </a:cubicBezTo>
                    <a:cubicBezTo>
                      <a:pt x="290" y="88"/>
                      <a:pt x="290" y="88"/>
                      <a:pt x="290" y="88"/>
                    </a:cubicBezTo>
                    <a:cubicBezTo>
                      <a:pt x="286" y="75"/>
                      <a:pt x="286" y="75"/>
                      <a:pt x="286" y="75"/>
                    </a:cubicBezTo>
                    <a:cubicBezTo>
                      <a:pt x="289" y="63"/>
                      <a:pt x="289" y="63"/>
                      <a:pt x="289" y="63"/>
                    </a:cubicBezTo>
                    <a:cubicBezTo>
                      <a:pt x="287" y="21"/>
                      <a:pt x="287" y="21"/>
                      <a:pt x="287" y="21"/>
                    </a:cubicBezTo>
                    <a:cubicBezTo>
                      <a:pt x="289" y="19"/>
                      <a:pt x="289" y="19"/>
                      <a:pt x="289" y="19"/>
                    </a:cubicBezTo>
                    <a:cubicBezTo>
                      <a:pt x="299" y="31"/>
                      <a:pt x="299" y="31"/>
                      <a:pt x="299" y="31"/>
                    </a:cubicBezTo>
                    <a:cubicBezTo>
                      <a:pt x="322" y="33"/>
                      <a:pt x="322" y="33"/>
                      <a:pt x="322" y="33"/>
                    </a:cubicBezTo>
                    <a:cubicBezTo>
                      <a:pt x="325" y="30"/>
                      <a:pt x="325" y="30"/>
                      <a:pt x="325" y="30"/>
                    </a:cubicBezTo>
                    <a:cubicBezTo>
                      <a:pt x="331" y="36"/>
                      <a:pt x="331" y="36"/>
                      <a:pt x="331" y="36"/>
                    </a:cubicBezTo>
                    <a:cubicBezTo>
                      <a:pt x="338" y="43"/>
                      <a:pt x="338" y="43"/>
                      <a:pt x="338" y="43"/>
                    </a:cubicBezTo>
                    <a:cubicBezTo>
                      <a:pt x="339" y="52"/>
                      <a:pt x="339" y="52"/>
                      <a:pt x="339" y="52"/>
                    </a:cubicBezTo>
                    <a:cubicBezTo>
                      <a:pt x="329" y="67"/>
                      <a:pt x="329" y="67"/>
                      <a:pt x="329" y="67"/>
                    </a:cubicBezTo>
                    <a:cubicBezTo>
                      <a:pt x="327" y="76"/>
                      <a:pt x="327" y="76"/>
                      <a:pt x="327" y="76"/>
                    </a:cubicBezTo>
                    <a:cubicBezTo>
                      <a:pt x="332" y="84"/>
                      <a:pt x="332" y="84"/>
                      <a:pt x="332" y="84"/>
                    </a:cubicBezTo>
                    <a:cubicBezTo>
                      <a:pt x="339" y="87"/>
                      <a:pt x="339" y="87"/>
                      <a:pt x="339" y="87"/>
                    </a:cubicBezTo>
                    <a:cubicBezTo>
                      <a:pt x="358" y="88"/>
                      <a:pt x="358" y="88"/>
                      <a:pt x="358" y="88"/>
                    </a:cubicBezTo>
                    <a:cubicBezTo>
                      <a:pt x="368" y="86"/>
                      <a:pt x="368" y="86"/>
                      <a:pt x="368" y="86"/>
                    </a:cubicBezTo>
                    <a:cubicBezTo>
                      <a:pt x="371" y="81"/>
                      <a:pt x="371" y="81"/>
                      <a:pt x="371" y="81"/>
                    </a:cubicBezTo>
                    <a:cubicBezTo>
                      <a:pt x="379" y="70"/>
                      <a:pt x="379" y="70"/>
                      <a:pt x="379" y="70"/>
                    </a:cubicBezTo>
                    <a:cubicBezTo>
                      <a:pt x="380" y="43"/>
                      <a:pt x="380" y="43"/>
                      <a:pt x="380" y="43"/>
                    </a:cubicBezTo>
                    <a:cubicBezTo>
                      <a:pt x="368" y="8"/>
                      <a:pt x="368" y="8"/>
                      <a:pt x="368" y="8"/>
                    </a:cubicBezTo>
                    <a:cubicBezTo>
                      <a:pt x="370" y="0"/>
                      <a:pt x="370" y="0"/>
                      <a:pt x="370" y="0"/>
                    </a:cubicBezTo>
                    <a:cubicBezTo>
                      <a:pt x="376" y="1"/>
                      <a:pt x="376" y="1"/>
                      <a:pt x="376" y="1"/>
                    </a:cubicBezTo>
                    <a:cubicBezTo>
                      <a:pt x="379" y="6"/>
                      <a:pt x="379" y="6"/>
                      <a:pt x="379" y="6"/>
                    </a:cubicBezTo>
                    <a:cubicBezTo>
                      <a:pt x="383" y="6"/>
                      <a:pt x="383" y="6"/>
                      <a:pt x="383" y="6"/>
                    </a:cubicBezTo>
                    <a:cubicBezTo>
                      <a:pt x="386" y="20"/>
                      <a:pt x="386" y="20"/>
                      <a:pt x="386" y="20"/>
                    </a:cubicBezTo>
                    <a:cubicBezTo>
                      <a:pt x="390" y="29"/>
                      <a:pt x="390" y="29"/>
                      <a:pt x="390" y="29"/>
                    </a:cubicBezTo>
                    <a:cubicBezTo>
                      <a:pt x="394" y="29"/>
                      <a:pt x="394" y="29"/>
                      <a:pt x="394" y="29"/>
                    </a:cubicBezTo>
                    <a:cubicBezTo>
                      <a:pt x="397" y="33"/>
                      <a:pt x="397" y="33"/>
                      <a:pt x="397" y="33"/>
                    </a:cubicBezTo>
                    <a:cubicBezTo>
                      <a:pt x="409" y="33"/>
                      <a:pt x="409" y="33"/>
                      <a:pt x="409" y="33"/>
                    </a:cubicBezTo>
                    <a:cubicBezTo>
                      <a:pt x="411" y="31"/>
                      <a:pt x="411" y="31"/>
                      <a:pt x="411" y="31"/>
                    </a:cubicBezTo>
                    <a:cubicBezTo>
                      <a:pt x="423" y="18"/>
                      <a:pt x="423" y="18"/>
                      <a:pt x="423" y="18"/>
                    </a:cubicBezTo>
                    <a:cubicBezTo>
                      <a:pt x="427" y="17"/>
                      <a:pt x="427" y="17"/>
                      <a:pt x="427" y="17"/>
                    </a:cubicBezTo>
                    <a:cubicBezTo>
                      <a:pt x="430" y="20"/>
                      <a:pt x="430" y="20"/>
                      <a:pt x="430" y="20"/>
                    </a:cubicBezTo>
                    <a:cubicBezTo>
                      <a:pt x="436" y="21"/>
                      <a:pt x="436" y="21"/>
                      <a:pt x="436" y="21"/>
                    </a:cubicBezTo>
                    <a:cubicBezTo>
                      <a:pt x="447" y="15"/>
                      <a:pt x="447" y="15"/>
                      <a:pt x="447" y="15"/>
                    </a:cubicBezTo>
                    <a:cubicBezTo>
                      <a:pt x="452" y="18"/>
                      <a:pt x="452" y="18"/>
                      <a:pt x="452" y="18"/>
                    </a:cubicBezTo>
                    <a:cubicBezTo>
                      <a:pt x="444" y="25"/>
                      <a:pt x="444" y="25"/>
                      <a:pt x="444" y="25"/>
                    </a:cubicBezTo>
                    <a:cubicBezTo>
                      <a:pt x="442" y="30"/>
                      <a:pt x="442" y="30"/>
                      <a:pt x="442" y="30"/>
                    </a:cubicBezTo>
                    <a:cubicBezTo>
                      <a:pt x="446" y="37"/>
                      <a:pt x="446" y="37"/>
                      <a:pt x="446" y="37"/>
                    </a:cubicBezTo>
                    <a:cubicBezTo>
                      <a:pt x="453" y="38"/>
                      <a:pt x="453" y="38"/>
                      <a:pt x="453" y="38"/>
                    </a:cubicBezTo>
                    <a:cubicBezTo>
                      <a:pt x="463" y="48"/>
                      <a:pt x="463" y="48"/>
                      <a:pt x="463" y="48"/>
                    </a:cubicBezTo>
                    <a:cubicBezTo>
                      <a:pt x="483" y="52"/>
                      <a:pt x="483" y="52"/>
                      <a:pt x="483" y="52"/>
                    </a:cubicBezTo>
                    <a:cubicBezTo>
                      <a:pt x="488" y="55"/>
                      <a:pt x="488" y="55"/>
                      <a:pt x="488" y="55"/>
                    </a:cubicBezTo>
                    <a:cubicBezTo>
                      <a:pt x="484" y="64"/>
                      <a:pt x="484" y="64"/>
                      <a:pt x="484" y="64"/>
                    </a:cubicBezTo>
                    <a:cubicBezTo>
                      <a:pt x="485" y="69"/>
                      <a:pt x="485" y="69"/>
                      <a:pt x="485" y="69"/>
                    </a:cubicBezTo>
                    <a:cubicBezTo>
                      <a:pt x="491" y="77"/>
                      <a:pt x="491" y="77"/>
                      <a:pt x="491" y="77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523" y="81"/>
                      <a:pt x="523" y="81"/>
                      <a:pt x="523" y="81"/>
                    </a:cubicBezTo>
                    <a:cubicBezTo>
                      <a:pt x="551" y="79"/>
                      <a:pt x="551" y="79"/>
                      <a:pt x="551" y="79"/>
                    </a:cubicBezTo>
                    <a:cubicBezTo>
                      <a:pt x="583" y="77"/>
                      <a:pt x="583" y="77"/>
                      <a:pt x="583" y="77"/>
                    </a:cubicBezTo>
                    <a:cubicBezTo>
                      <a:pt x="602" y="81"/>
                      <a:pt x="602" y="81"/>
                      <a:pt x="602" y="81"/>
                    </a:cubicBezTo>
                    <a:cubicBezTo>
                      <a:pt x="631" y="82"/>
                      <a:pt x="631" y="82"/>
                      <a:pt x="631" y="82"/>
                    </a:cubicBezTo>
                    <a:cubicBezTo>
                      <a:pt x="636" y="87"/>
                      <a:pt x="636" y="87"/>
                      <a:pt x="636" y="87"/>
                    </a:cubicBezTo>
                    <a:cubicBezTo>
                      <a:pt x="635" y="93"/>
                      <a:pt x="635" y="93"/>
                      <a:pt x="635" y="93"/>
                    </a:cubicBezTo>
                    <a:cubicBezTo>
                      <a:pt x="644" y="89"/>
                      <a:pt x="644" y="89"/>
                      <a:pt x="644" y="89"/>
                    </a:cubicBezTo>
                    <a:cubicBezTo>
                      <a:pt x="647" y="91"/>
                      <a:pt x="647" y="91"/>
                      <a:pt x="647" y="91"/>
                    </a:cubicBezTo>
                    <a:cubicBezTo>
                      <a:pt x="648" y="97"/>
                      <a:pt x="648" y="97"/>
                      <a:pt x="648" y="97"/>
                    </a:cubicBezTo>
                    <a:cubicBezTo>
                      <a:pt x="689" y="126"/>
                      <a:pt x="689" y="126"/>
                      <a:pt x="689" y="126"/>
                    </a:cubicBezTo>
                    <a:cubicBezTo>
                      <a:pt x="700" y="129"/>
                      <a:pt x="700" y="129"/>
                      <a:pt x="700" y="129"/>
                    </a:cubicBezTo>
                    <a:cubicBezTo>
                      <a:pt x="718" y="127"/>
                      <a:pt x="718" y="127"/>
                      <a:pt x="718" y="127"/>
                    </a:cubicBezTo>
                    <a:cubicBezTo>
                      <a:pt x="727" y="132"/>
                      <a:pt x="727" y="132"/>
                      <a:pt x="727" y="132"/>
                    </a:cubicBezTo>
                    <a:cubicBezTo>
                      <a:pt x="749" y="136"/>
                      <a:pt x="749" y="136"/>
                      <a:pt x="749" y="136"/>
                    </a:cubicBezTo>
                    <a:cubicBezTo>
                      <a:pt x="770" y="139"/>
                      <a:pt x="770" y="139"/>
                      <a:pt x="770" y="139"/>
                    </a:cubicBezTo>
                    <a:cubicBezTo>
                      <a:pt x="775" y="142"/>
                      <a:pt x="775" y="142"/>
                      <a:pt x="775" y="142"/>
                    </a:cubicBezTo>
                    <a:cubicBezTo>
                      <a:pt x="782" y="142"/>
                      <a:pt x="782" y="142"/>
                      <a:pt x="782" y="142"/>
                    </a:cubicBezTo>
                    <a:cubicBezTo>
                      <a:pt x="793" y="160"/>
                      <a:pt x="793" y="160"/>
                      <a:pt x="793" y="160"/>
                    </a:cubicBezTo>
                    <a:cubicBezTo>
                      <a:pt x="801" y="164"/>
                      <a:pt x="801" y="164"/>
                      <a:pt x="801" y="164"/>
                    </a:cubicBezTo>
                    <a:cubicBezTo>
                      <a:pt x="810" y="159"/>
                      <a:pt x="810" y="159"/>
                      <a:pt x="810" y="159"/>
                    </a:cubicBezTo>
                    <a:cubicBezTo>
                      <a:pt x="831" y="190"/>
                      <a:pt x="831" y="190"/>
                      <a:pt x="831" y="190"/>
                    </a:cubicBezTo>
                    <a:cubicBezTo>
                      <a:pt x="840" y="197"/>
                      <a:pt x="840" y="197"/>
                      <a:pt x="840" y="197"/>
                    </a:cubicBezTo>
                    <a:cubicBezTo>
                      <a:pt x="844" y="193"/>
                      <a:pt x="844" y="193"/>
                      <a:pt x="844" y="193"/>
                    </a:cubicBezTo>
                    <a:cubicBezTo>
                      <a:pt x="837" y="187"/>
                      <a:pt x="837" y="187"/>
                      <a:pt x="837" y="187"/>
                    </a:cubicBezTo>
                    <a:cubicBezTo>
                      <a:pt x="838" y="184"/>
                      <a:pt x="838" y="184"/>
                      <a:pt x="838" y="184"/>
                    </a:cubicBezTo>
                    <a:cubicBezTo>
                      <a:pt x="854" y="184"/>
                      <a:pt x="854" y="184"/>
                      <a:pt x="854" y="184"/>
                    </a:cubicBezTo>
                    <a:cubicBezTo>
                      <a:pt x="871" y="180"/>
                      <a:pt x="871" y="180"/>
                      <a:pt x="871" y="180"/>
                    </a:cubicBezTo>
                    <a:cubicBezTo>
                      <a:pt x="879" y="185"/>
                      <a:pt x="879" y="185"/>
                      <a:pt x="879" y="185"/>
                    </a:cubicBezTo>
                    <a:cubicBezTo>
                      <a:pt x="884" y="185"/>
                      <a:pt x="884" y="185"/>
                      <a:pt x="884" y="185"/>
                    </a:cubicBezTo>
                    <a:cubicBezTo>
                      <a:pt x="898" y="177"/>
                      <a:pt x="898" y="177"/>
                      <a:pt x="898" y="177"/>
                    </a:cubicBezTo>
                    <a:cubicBezTo>
                      <a:pt x="908" y="156"/>
                      <a:pt x="908" y="156"/>
                      <a:pt x="908" y="156"/>
                    </a:cubicBezTo>
                    <a:cubicBezTo>
                      <a:pt x="907" y="150"/>
                      <a:pt x="907" y="150"/>
                      <a:pt x="907" y="150"/>
                    </a:cubicBezTo>
                    <a:cubicBezTo>
                      <a:pt x="902" y="141"/>
                      <a:pt x="902" y="141"/>
                      <a:pt x="902" y="141"/>
                    </a:cubicBezTo>
                    <a:cubicBezTo>
                      <a:pt x="888" y="134"/>
                      <a:pt x="888" y="134"/>
                      <a:pt x="888" y="134"/>
                    </a:cubicBezTo>
                    <a:cubicBezTo>
                      <a:pt x="892" y="130"/>
                      <a:pt x="892" y="130"/>
                      <a:pt x="892" y="130"/>
                    </a:cubicBezTo>
                    <a:cubicBezTo>
                      <a:pt x="905" y="134"/>
                      <a:pt x="905" y="134"/>
                      <a:pt x="905" y="134"/>
                    </a:cubicBezTo>
                    <a:cubicBezTo>
                      <a:pt x="910" y="128"/>
                      <a:pt x="910" y="128"/>
                      <a:pt x="910" y="128"/>
                    </a:cubicBezTo>
                    <a:cubicBezTo>
                      <a:pt x="916" y="134"/>
                      <a:pt x="916" y="134"/>
                      <a:pt x="916" y="134"/>
                    </a:cubicBezTo>
                    <a:cubicBezTo>
                      <a:pt x="927" y="133"/>
                      <a:pt x="927" y="133"/>
                      <a:pt x="927" y="133"/>
                    </a:cubicBezTo>
                    <a:cubicBezTo>
                      <a:pt x="932" y="132"/>
                      <a:pt x="932" y="132"/>
                      <a:pt x="932" y="132"/>
                    </a:cubicBezTo>
                    <a:cubicBezTo>
                      <a:pt x="938" y="138"/>
                      <a:pt x="938" y="138"/>
                      <a:pt x="938" y="138"/>
                    </a:cubicBezTo>
                    <a:cubicBezTo>
                      <a:pt x="967" y="143"/>
                      <a:pt x="967" y="143"/>
                      <a:pt x="967" y="143"/>
                    </a:cubicBezTo>
                    <a:cubicBezTo>
                      <a:pt x="977" y="152"/>
                      <a:pt x="977" y="152"/>
                      <a:pt x="977" y="152"/>
                    </a:cubicBezTo>
                    <a:cubicBezTo>
                      <a:pt x="983" y="152"/>
                      <a:pt x="983" y="152"/>
                      <a:pt x="983" y="152"/>
                    </a:cubicBezTo>
                    <a:cubicBezTo>
                      <a:pt x="990" y="158"/>
                      <a:pt x="990" y="158"/>
                      <a:pt x="990" y="158"/>
                    </a:cubicBezTo>
                    <a:cubicBezTo>
                      <a:pt x="1001" y="158"/>
                      <a:pt x="1001" y="158"/>
                      <a:pt x="1001" y="158"/>
                    </a:cubicBezTo>
                    <a:cubicBezTo>
                      <a:pt x="1020" y="170"/>
                      <a:pt x="1020" y="170"/>
                      <a:pt x="1020" y="170"/>
                    </a:cubicBezTo>
                    <a:cubicBezTo>
                      <a:pt x="1019" y="176"/>
                      <a:pt x="1019" y="176"/>
                      <a:pt x="1019" y="176"/>
                    </a:cubicBezTo>
                    <a:cubicBezTo>
                      <a:pt x="1024" y="183"/>
                      <a:pt x="1024" y="183"/>
                      <a:pt x="1024" y="183"/>
                    </a:cubicBezTo>
                    <a:cubicBezTo>
                      <a:pt x="1045" y="180"/>
                      <a:pt x="1045" y="180"/>
                      <a:pt x="1045" y="180"/>
                    </a:cubicBezTo>
                    <a:cubicBezTo>
                      <a:pt x="1047" y="181"/>
                      <a:pt x="1047" y="181"/>
                      <a:pt x="1047" y="181"/>
                    </a:cubicBezTo>
                    <a:cubicBezTo>
                      <a:pt x="1044" y="191"/>
                      <a:pt x="1044" y="191"/>
                      <a:pt x="1044" y="191"/>
                    </a:cubicBezTo>
                    <a:cubicBezTo>
                      <a:pt x="1046" y="200"/>
                      <a:pt x="1046" y="200"/>
                      <a:pt x="1046" y="200"/>
                    </a:cubicBezTo>
                    <a:cubicBezTo>
                      <a:pt x="1056" y="208"/>
                      <a:pt x="1056" y="208"/>
                      <a:pt x="1056" y="208"/>
                    </a:cubicBezTo>
                    <a:cubicBezTo>
                      <a:pt x="1068" y="211"/>
                      <a:pt x="1068" y="211"/>
                      <a:pt x="1068" y="211"/>
                    </a:cubicBezTo>
                    <a:cubicBezTo>
                      <a:pt x="1082" y="224"/>
                      <a:pt x="1082" y="224"/>
                      <a:pt x="1082" y="224"/>
                    </a:cubicBezTo>
                    <a:cubicBezTo>
                      <a:pt x="1095" y="235"/>
                      <a:pt x="1095" y="235"/>
                      <a:pt x="1095" y="235"/>
                    </a:cubicBezTo>
                    <a:cubicBezTo>
                      <a:pt x="1138" y="255"/>
                      <a:pt x="1138" y="255"/>
                      <a:pt x="1138" y="255"/>
                    </a:cubicBezTo>
                    <a:cubicBezTo>
                      <a:pt x="1183" y="293"/>
                      <a:pt x="1183" y="293"/>
                      <a:pt x="1183" y="293"/>
                    </a:cubicBezTo>
                    <a:cubicBezTo>
                      <a:pt x="1200" y="302"/>
                      <a:pt x="1200" y="302"/>
                      <a:pt x="1200" y="302"/>
                    </a:cubicBezTo>
                    <a:cubicBezTo>
                      <a:pt x="1189" y="329"/>
                      <a:pt x="1189" y="329"/>
                      <a:pt x="1189" y="329"/>
                    </a:cubicBezTo>
                    <a:cubicBezTo>
                      <a:pt x="1189" y="329"/>
                      <a:pt x="1189" y="345"/>
                      <a:pt x="1188" y="353"/>
                    </a:cubicBezTo>
                    <a:cubicBezTo>
                      <a:pt x="1186" y="362"/>
                      <a:pt x="1169" y="372"/>
                      <a:pt x="1157" y="374"/>
                    </a:cubicBezTo>
                    <a:cubicBezTo>
                      <a:pt x="1145" y="375"/>
                      <a:pt x="1122" y="367"/>
                      <a:pt x="1122" y="367"/>
                    </a:cubicBezTo>
                    <a:cubicBezTo>
                      <a:pt x="1106" y="367"/>
                      <a:pt x="1106" y="367"/>
                      <a:pt x="1106" y="367"/>
                    </a:cubicBezTo>
                    <a:cubicBezTo>
                      <a:pt x="1083" y="376"/>
                      <a:pt x="1083" y="376"/>
                      <a:pt x="1083" y="376"/>
                    </a:cubicBezTo>
                    <a:cubicBezTo>
                      <a:pt x="1083" y="376"/>
                      <a:pt x="1082" y="363"/>
                      <a:pt x="1078" y="358"/>
                    </a:cubicBezTo>
                    <a:cubicBezTo>
                      <a:pt x="1074" y="352"/>
                      <a:pt x="1060" y="351"/>
                      <a:pt x="1060" y="351"/>
                    </a:cubicBezTo>
                    <a:cubicBezTo>
                      <a:pt x="1053" y="354"/>
                      <a:pt x="1038" y="350"/>
                      <a:pt x="1036" y="341"/>
                    </a:cubicBezTo>
                    <a:cubicBezTo>
                      <a:pt x="1034" y="329"/>
                      <a:pt x="1012" y="348"/>
                      <a:pt x="1008" y="351"/>
                    </a:cubicBezTo>
                    <a:cubicBezTo>
                      <a:pt x="1008" y="351"/>
                      <a:pt x="1007" y="350"/>
                      <a:pt x="1007" y="350"/>
                    </a:cubicBezTo>
                    <a:cubicBezTo>
                      <a:pt x="1007" y="351"/>
                      <a:pt x="1007" y="351"/>
                      <a:pt x="1008" y="351"/>
                    </a:cubicBezTo>
                    <a:cubicBezTo>
                      <a:pt x="1019" y="356"/>
                      <a:pt x="1016" y="367"/>
                      <a:pt x="1027" y="381"/>
                    </a:cubicBezTo>
                    <a:cubicBezTo>
                      <a:pt x="1031" y="394"/>
                      <a:pt x="1019" y="392"/>
                      <a:pt x="1019" y="402"/>
                    </a:cubicBezTo>
                    <a:cubicBezTo>
                      <a:pt x="1011" y="413"/>
                      <a:pt x="990" y="411"/>
                      <a:pt x="986" y="428"/>
                    </a:cubicBezTo>
                    <a:cubicBezTo>
                      <a:pt x="998" y="451"/>
                      <a:pt x="1005" y="410"/>
                      <a:pt x="1016" y="432"/>
                    </a:cubicBezTo>
                    <a:cubicBezTo>
                      <a:pt x="1017" y="446"/>
                      <a:pt x="1035" y="429"/>
                      <a:pt x="1048" y="433"/>
                    </a:cubicBezTo>
                    <a:cubicBezTo>
                      <a:pt x="1053" y="429"/>
                      <a:pt x="1055" y="438"/>
                      <a:pt x="1066" y="443"/>
                    </a:cubicBezTo>
                    <a:cubicBezTo>
                      <a:pt x="1065" y="449"/>
                      <a:pt x="1085" y="449"/>
                      <a:pt x="1082" y="457"/>
                    </a:cubicBezTo>
                    <a:cubicBezTo>
                      <a:pt x="1082" y="477"/>
                      <a:pt x="1058" y="452"/>
                      <a:pt x="1059" y="472"/>
                    </a:cubicBezTo>
                    <a:cubicBezTo>
                      <a:pt x="1052" y="478"/>
                      <a:pt x="1044" y="486"/>
                      <a:pt x="1043" y="501"/>
                    </a:cubicBezTo>
                    <a:cubicBezTo>
                      <a:pt x="1039" y="514"/>
                      <a:pt x="1033" y="529"/>
                      <a:pt x="1020" y="532"/>
                    </a:cubicBezTo>
                    <a:cubicBezTo>
                      <a:pt x="1035" y="540"/>
                      <a:pt x="1019" y="557"/>
                      <a:pt x="1022" y="571"/>
                    </a:cubicBezTo>
                    <a:cubicBezTo>
                      <a:pt x="1026" y="575"/>
                      <a:pt x="1037" y="588"/>
                      <a:pt x="1035" y="604"/>
                    </a:cubicBezTo>
                    <a:cubicBezTo>
                      <a:pt x="1033" y="628"/>
                      <a:pt x="1052" y="607"/>
                      <a:pt x="1066" y="602"/>
                    </a:cubicBezTo>
                    <a:cubicBezTo>
                      <a:pt x="1081" y="594"/>
                      <a:pt x="1096" y="587"/>
                      <a:pt x="1110" y="578"/>
                    </a:cubicBezTo>
                    <a:cubicBezTo>
                      <a:pt x="1111" y="593"/>
                      <a:pt x="1115" y="608"/>
                      <a:pt x="1117" y="624"/>
                    </a:cubicBezTo>
                    <a:cubicBezTo>
                      <a:pt x="1099" y="635"/>
                      <a:pt x="1137" y="642"/>
                      <a:pt x="1147" y="649"/>
                    </a:cubicBezTo>
                    <a:cubicBezTo>
                      <a:pt x="1160" y="655"/>
                      <a:pt x="1174" y="655"/>
                      <a:pt x="1180" y="664"/>
                    </a:cubicBezTo>
                    <a:cubicBezTo>
                      <a:pt x="1189" y="673"/>
                      <a:pt x="1194" y="689"/>
                      <a:pt x="1183" y="698"/>
                    </a:cubicBezTo>
                    <a:cubicBezTo>
                      <a:pt x="1178" y="715"/>
                      <a:pt x="1210" y="703"/>
                      <a:pt x="1202" y="726"/>
                    </a:cubicBezTo>
                    <a:cubicBezTo>
                      <a:pt x="1204" y="739"/>
                      <a:pt x="1189" y="733"/>
                      <a:pt x="1191" y="744"/>
                    </a:cubicBezTo>
                    <a:cubicBezTo>
                      <a:pt x="1190" y="753"/>
                      <a:pt x="1190" y="757"/>
                      <a:pt x="1192" y="769"/>
                    </a:cubicBezTo>
                    <a:cubicBezTo>
                      <a:pt x="1199" y="780"/>
                      <a:pt x="1164" y="788"/>
                      <a:pt x="1168" y="772"/>
                    </a:cubicBezTo>
                    <a:cubicBezTo>
                      <a:pt x="1158" y="753"/>
                      <a:pt x="1158" y="784"/>
                      <a:pt x="1137" y="778"/>
                    </a:cubicBezTo>
                    <a:cubicBezTo>
                      <a:pt x="1117" y="776"/>
                      <a:pt x="1119" y="796"/>
                      <a:pt x="1105" y="805"/>
                    </a:cubicBezTo>
                    <a:cubicBezTo>
                      <a:pt x="1089" y="801"/>
                      <a:pt x="1088" y="805"/>
                      <a:pt x="1089" y="827"/>
                    </a:cubicBezTo>
                    <a:cubicBezTo>
                      <a:pt x="1086" y="863"/>
                      <a:pt x="1086" y="900"/>
                      <a:pt x="1083" y="936"/>
                    </a:cubicBezTo>
                    <a:cubicBezTo>
                      <a:pt x="1090" y="937"/>
                      <a:pt x="1093" y="939"/>
                      <a:pt x="1094" y="942"/>
                    </a:cubicBezTo>
                    <a:cubicBezTo>
                      <a:pt x="1098" y="950"/>
                      <a:pt x="1085" y="961"/>
                      <a:pt x="1078" y="967"/>
                    </a:cubicBezTo>
                    <a:cubicBezTo>
                      <a:pt x="1073" y="983"/>
                      <a:pt x="1087" y="998"/>
                      <a:pt x="1079" y="1013"/>
                    </a:cubicBezTo>
                    <a:cubicBezTo>
                      <a:pt x="1074" y="1027"/>
                      <a:pt x="1061" y="1036"/>
                      <a:pt x="1045" y="1036"/>
                    </a:cubicBezTo>
                    <a:cubicBezTo>
                      <a:pt x="1029" y="1031"/>
                      <a:pt x="1020" y="1048"/>
                      <a:pt x="1008" y="1055"/>
                    </a:cubicBezTo>
                    <a:cubicBezTo>
                      <a:pt x="1004" y="1058"/>
                      <a:pt x="1000" y="1059"/>
                      <a:pt x="998" y="1059"/>
                    </a:cubicBezTo>
                    <a:cubicBezTo>
                      <a:pt x="998" y="1060"/>
                      <a:pt x="998" y="1060"/>
                      <a:pt x="998" y="1060"/>
                    </a:cubicBezTo>
                    <a:cubicBezTo>
                      <a:pt x="996" y="1056"/>
                      <a:pt x="994" y="1052"/>
                      <a:pt x="991" y="1048"/>
                    </a:cubicBezTo>
                    <a:cubicBezTo>
                      <a:pt x="972" y="1059"/>
                      <a:pt x="943" y="1065"/>
                      <a:pt x="925" y="1078"/>
                    </a:cubicBezTo>
                    <a:cubicBezTo>
                      <a:pt x="909" y="1091"/>
                      <a:pt x="888" y="1107"/>
                      <a:pt x="864" y="1105"/>
                    </a:cubicBezTo>
                    <a:cubicBezTo>
                      <a:pt x="866" y="1103"/>
                      <a:pt x="861" y="1086"/>
                      <a:pt x="848" y="1081"/>
                    </a:cubicBezTo>
                    <a:cubicBezTo>
                      <a:pt x="830" y="1085"/>
                      <a:pt x="836" y="1086"/>
                      <a:pt x="819" y="1088"/>
                    </a:cubicBezTo>
                    <a:cubicBezTo>
                      <a:pt x="825" y="1102"/>
                      <a:pt x="796" y="1096"/>
                      <a:pt x="805" y="1112"/>
                    </a:cubicBezTo>
                    <a:cubicBezTo>
                      <a:pt x="813" y="1128"/>
                      <a:pt x="785" y="1116"/>
                      <a:pt x="791" y="1130"/>
                    </a:cubicBezTo>
                    <a:cubicBezTo>
                      <a:pt x="790" y="1141"/>
                      <a:pt x="807" y="1157"/>
                      <a:pt x="786" y="1159"/>
                    </a:cubicBezTo>
                    <a:cubicBezTo>
                      <a:pt x="784" y="1169"/>
                      <a:pt x="784" y="1180"/>
                      <a:pt x="765" y="1177"/>
                    </a:cubicBezTo>
                    <a:cubicBezTo>
                      <a:pt x="752" y="1182"/>
                      <a:pt x="761" y="1197"/>
                      <a:pt x="742" y="1189"/>
                    </a:cubicBezTo>
                    <a:cubicBezTo>
                      <a:pt x="725" y="1190"/>
                      <a:pt x="720" y="1191"/>
                      <a:pt x="712" y="1182"/>
                    </a:cubicBezTo>
                    <a:cubicBezTo>
                      <a:pt x="714" y="1169"/>
                      <a:pt x="696" y="1168"/>
                      <a:pt x="698" y="1155"/>
                    </a:cubicBezTo>
                    <a:cubicBezTo>
                      <a:pt x="679" y="1152"/>
                      <a:pt x="700" y="1140"/>
                      <a:pt x="690" y="1127"/>
                    </a:cubicBezTo>
                    <a:cubicBezTo>
                      <a:pt x="679" y="1120"/>
                      <a:pt x="663" y="1127"/>
                      <a:pt x="651" y="1130"/>
                    </a:cubicBezTo>
                    <a:cubicBezTo>
                      <a:pt x="649" y="1146"/>
                      <a:pt x="643" y="1135"/>
                      <a:pt x="632" y="1137"/>
                    </a:cubicBezTo>
                    <a:cubicBezTo>
                      <a:pt x="627" y="1148"/>
                      <a:pt x="636" y="1163"/>
                      <a:pt x="619" y="1163"/>
                    </a:cubicBezTo>
                    <a:cubicBezTo>
                      <a:pt x="605" y="1170"/>
                      <a:pt x="588" y="1170"/>
                      <a:pt x="571" y="1171"/>
                    </a:cubicBezTo>
                    <a:cubicBezTo>
                      <a:pt x="563" y="1171"/>
                      <a:pt x="538" y="1168"/>
                      <a:pt x="538" y="1175"/>
                    </a:cubicBezTo>
                    <a:cubicBezTo>
                      <a:pt x="537" y="1175"/>
                      <a:pt x="537" y="1175"/>
                      <a:pt x="537" y="1175"/>
                    </a:cubicBezTo>
                    <a:cubicBezTo>
                      <a:pt x="531" y="1181"/>
                      <a:pt x="524" y="1163"/>
                      <a:pt x="526" y="1164"/>
                    </a:cubicBezTo>
                    <a:cubicBezTo>
                      <a:pt x="535" y="1161"/>
                      <a:pt x="525" y="1156"/>
                      <a:pt x="532" y="1152"/>
                    </a:cubicBezTo>
                    <a:cubicBezTo>
                      <a:pt x="532" y="1149"/>
                      <a:pt x="537" y="1145"/>
                      <a:pt x="539" y="1136"/>
                    </a:cubicBezTo>
                    <a:cubicBezTo>
                      <a:pt x="546" y="1122"/>
                      <a:pt x="527" y="1116"/>
                      <a:pt x="532" y="1102"/>
                    </a:cubicBezTo>
                    <a:cubicBezTo>
                      <a:pt x="532" y="1088"/>
                      <a:pt x="540" y="1078"/>
                      <a:pt x="522" y="1075"/>
                    </a:cubicBezTo>
                    <a:cubicBezTo>
                      <a:pt x="522" y="1056"/>
                      <a:pt x="510" y="1063"/>
                      <a:pt x="511" y="1055"/>
                    </a:cubicBezTo>
                    <a:cubicBezTo>
                      <a:pt x="517" y="1050"/>
                      <a:pt x="506" y="1037"/>
                      <a:pt x="513" y="1032"/>
                    </a:cubicBezTo>
                    <a:cubicBezTo>
                      <a:pt x="516" y="1017"/>
                      <a:pt x="508" y="1019"/>
                      <a:pt x="496" y="1013"/>
                    </a:cubicBezTo>
                    <a:cubicBezTo>
                      <a:pt x="486" y="1007"/>
                      <a:pt x="471" y="1004"/>
                      <a:pt x="472" y="989"/>
                    </a:cubicBezTo>
                    <a:cubicBezTo>
                      <a:pt x="476" y="970"/>
                      <a:pt x="447" y="983"/>
                      <a:pt x="444" y="966"/>
                    </a:cubicBezTo>
                    <a:cubicBezTo>
                      <a:pt x="441" y="950"/>
                      <a:pt x="443" y="927"/>
                      <a:pt x="423" y="919"/>
                    </a:cubicBezTo>
                    <a:cubicBezTo>
                      <a:pt x="414" y="905"/>
                      <a:pt x="394" y="932"/>
                      <a:pt x="384" y="916"/>
                    </a:cubicBezTo>
                    <a:cubicBezTo>
                      <a:pt x="380" y="911"/>
                      <a:pt x="362" y="893"/>
                      <a:pt x="363" y="899"/>
                    </a:cubicBezTo>
                    <a:cubicBezTo>
                      <a:pt x="361" y="913"/>
                      <a:pt x="343" y="918"/>
                      <a:pt x="343" y="904"/>
                    </a:cubicBezTo>
                    <a:cubicBezTo>
                      <a:pt x="337" y="889"/>
                      <a:pt x="336" y="909"/>
                      <a:pt x="330" y="911"/>
                    </a:cubicBezTo>
                    <a:cubicBezTo>
                      <a:pt x="316" y="899"/>
                      <a:pt x="326" y="889"/>
                      <a:pt x="336" y="879"/>
                    </a:cubicBezTo>
                    <a:cubicBezTo>
                      <a:pt x="338" y="867"/>
                      <a:pt x="347" y="859"/>
                      <a:pt x="342" y="849"/>
                    </a:cubicBezTo>
                    <a:cubicBezTo>
                      <a:pt x="331" y="835"/>
                      <a:pt x="354" y="838"/>
                      <a:pt x="348" y="824"/>
                    </a:cubicBezTo>
                    <a:cubicBezTo>
                      <a:pt x="350" y="812"/>
                      <a:pt x="362" y="803"/>
                      <a:pt x="375" y="808"/>
                    </a:cubicBezTo>
                    <a:cubicBezTo>
                      <a:pt x="372" y="796"/>
                      <a:pt x="382" y="786"/>
                      <a:pt x="378" y="775"/>
                    </a:cubicBezTo>
                    <a:cubicBezTo>
                      <a:pt x="383" y="765"/>
                      <a:pt x="387" y="754"/>
                      <a:pt x="402" y="756"/>
                    </a:cubicBezTo>
                    <a:cubicBezTo>
                      <a:pt x="413" y="744"/>
                      <a:pt x="402" y="732"/>
                      <a:pt x="403" y="718"/>
                    </a:cubicBezTo>
                    <a:cubicBezTo>
                      <a:pt x="400" y="709"/>
                      <a:pt x="392" y="697"/>
                      <a:pt x="383" y="708"/>
                    </a:cubicBezTo>
                    <a:cubicBezTo>
                      <a:pt x="373" y="725"/>
                      <a:pt x="365" y="695"/>
                      <a:pt x="356" y="703"/>
                    </a:cubicBezTo>
                    <a:cubicBezTo>
                      <a:pt x="335" y="701"/>
                      <a:pt x="345" y="693"/>
                      <a:pt x="346" y="684"/>
                    </a:cubicBezTo>
                    <a:cubicBezTo>
                      <a:pt x="335" y="669"/>
                      <a:pt x="334" y="701"/>
                      <a:pt x="324" y="699"/>
                    </a:cubicBezTo>
                    <a:cubicBezTo>
                      <a:pt x="313" y="698"/>
                      <a:pt x="304" y="683"/>
                      <a:pt x="298" y="696"/>
                    </a:cubicBezTo>
                    <a:cubicBezTo>
                      <a:pt x="286" y="694"/>
                      <a:pt x="284" y="687"/>
                      <a:pt x="271" y="681"/>
                    </a:cubicBezTo>
                    <a:cubicBezTo>
                      <a:pt x="260" y="682"/>
                      <a:pt x="262" y="657"/>
                      <a:pt x="253" y="673"/>
                    </a:cubicBezTo>
                    <a:cubicBezTo>
                      <a:pt x="243" y="681"/>
                      <a:pt x="240" y="686"/>
                      <a:pt x="228" y="686"/>
                    </a:cubicBezTo>
                    <a:cubicBezTo>
                      <a:pt x="221" y="688"/>
                      <a:pt x="212" y="678"/>
                      <a:pt x="218" y="673"/>
                    </a:cubicBezTo>
                    <a:cubicBezTo>
                      <a:pt x="218" y="658"/>
                      <a:pt x="214" y="653"/>
                      <a:pt x="202" y="647"/>
                    </a:cubicBezTo>
                    <a:cubicBezTo>
                      <a:pt x="191" y="634"/>
                      <a:pt x="181" y="647"/>
                      <a:pt x="170" y="656"/>
                    </a:cubicBezTo>
                    <a:cubicBezTo>
                      <a:pt x="159" y="665"/>
                      <a:pt x="150" y="662"/>
                      <a:pt x="136" y="662"/>
                    </a:cubicBezTo>
                    <a:cubicBezTo>
                      <a:pt x="119" y="675"/>
                      <a:pt x="158" y="684"/>
                      <a:pt x="134" y="683"/>
                    </a:cubicBezTo>
                    <a:cubicBezTo>
                      <a:pt x="118" y="685"/>
                      <a:pt x="103" y="685"/>
                      <a:pt x="89" y="680"/>
                    </a:cubicBezTo>
                    <a:cubicBezTo>
                      <a:pt x="76" y="673"/>
                      <a:pt x="92" y="660"/>
                      <a:pt x="73" y="659"/>
                    </a:cubicBezTo>
                    <a:cubicBezTo>
                      <a:pt x="93" y="647"/>
                      <a:pt x="86" y="641"/>
                      <a:pt x="65" y="642"/>
                    </a:cubicBezTo>
                    <a:cubicBezTo>
                      <a:pt x="45" y="628"/>
                      <a:pt x="27" y="607"/>
                      <a:pt x="10" y="589"/>
                    </a:cubicBezTo>
                    <a:cubicBezTo>
                      <a:pt x="0" y="585"/>
                      <a:pt x="1" y="583"/>
                      <a:pt x="3" y="581"/>
                    </a:cubicBez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8" name="Freeform 13">
                <a:extLst>
                  <a:ext uri="{FF2B5EF4-FFF2-40B4-BE49-F238E27FC236}">
                    <a16:creationId xmlns:a16="http://schemas.microsoft.com/office/drawing/2014/main" id="{F1A1374B-195B-4EB6-A1E2-5C18D986A4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7889" y="1854201"/>
                <a:ext cx="1844676" cy="1476376"/>
              </a:xfrm>
              <a:custGeom>
                <a:avLst/>
                <a:gdLst>
                  <a:gd name="T0" fmla="*/ 132 w 1100"/>
                  <a:gd name="T1" fmla="*/ 320 h 883"/>
                  <a:gd name="T2" fmla="*/ 200 w 1100"/>
                  <a:gd name="T3" fmla="*/ 343 h 883"/>
                  <a:gd name="T4" fmla="*/ 227 w 1100"/>
                  <a:gd name="T5" fmla="*/ 278 h 883"/>
                  <a:gd name="T6" fmla="*/ 251 w 1100"/>
                  <a:gd name="T7" fmla="*/ 246 h 883"/>
                  <a:gd name="T8" fmla="*/ 305 w 1100"/>
                  <a:gd name="T9" fmla="*/ 216 h 883"/>
                  <a:gd name="T10" fmla="*/ 416 w 1100"/>
                  <a:gd name="T11" fmla="*/ 207 h 883"/>
                  <a:gd name="T12" fmla="*/ 423 w 1100"/>
                  <a:gd name="T13" fmla="*/ 159 h 883"/>
                  <a:gd name="T14" fmla="*/ 431 w 1100"/>
                  <a:gd name="T15" fmla="*/ 88 h 883"/>
                  <a:gd name="T16" fmla="*/ 499 w 1100"/>
                  <a:gd name="T17" fmla="*/ 18 h 883"/>
                  <a:gd name="T18" fmla="*/ 558 w 1100"/>
                  <a:gd name="T19" fmla="*/ 29 h 883"/>
                  <a:gd name="T20" fmla="*/ 615 w 1100"/>
                  <a:gd name="T21" fmla="*/ 49 h 883"/>
                  <a:gd name="T22" fmla="*/ 677 w 1100"/>
                  <a:gd name="T23" fmla="*/ 4 h 883"/>
                  <a:gd name="T24" fmla="*/ 739 w 1100"/>
                  <a:gd name="T25" fmla="*/ 76 h 883"/>
                  <a:gd name="T26" fmla="*/ 801 w 1100"/>
                  <a:gd name="T27" fmla="*/ 135 h 883"/>
                  <a:gd name="T28" fmla="*/ 835 w 1100"/>
                  <a:gd name="T29" fmla="*/ 163 h 883"/>
                  <a:gd name="T30" fmla="*/ 948 w 1100"/>
                  <a:gd name="T31" fmla="*/ 211 h 883"/>
                  <a:gd name="T32" fmla="*/ 975 w 1100"/>
                  <a:gd name="T33" fmla="*/ 281 h 883"/>
                  <a:gd name="T34" fmla="*/ 1041 w 1100"/>
                  <a:gd name="T35" fmla="*/ 320 h 883"/>
                  <a:gd name="T36" fmla="*/ 1100 w 1100"/>
                  <a:gd name="T37" fmla="*/ 363 h 883"/>
                  <a:gd name="T38" fmla="*/ 1076 w 1100"/>
                  <a:gd name="T39" fmla="*/ 466 h 883"/>
                  <a:gd name="T40" fmla="*/ 1034 w 1100"/>
                  <a:gd name="T41" fmla="*/ 504 h 883"/>
                  <a:gd name="T42" fmla="*/ 983 w 1100"/>
                  <a:gd name="T43" fmla="*/ 484 h 883"/>
                  <a:gd name="T44" fmla="*/ 949 w 1100"/>
                  <a:gd name="T45" fmla="*/ 481 h 883"/>
                  <a:gd name="T46" fmla="*/ 929 w 1100"/>
                  <a:gd name="T47" fmla="*/ 461 h 883"/>
                  <a:gd name="T48" fmla="*/ 892 w 1100"/>
                  <a:gd name="T49" fmla="*/ 484 h 883"/>
                  <a:gd name="T50" fmla="*/ 869 w 1100"/>
                  <a:gd name="T51" fmla="*/ 515 h 883"/>
                  <a:gd name="T52" fmla="*/ 886 w 1100"/>
                  <a:gd name="T53" fmla="*/ 587 h 883"/>
                  <a:gd name="T54" fmla="*/ 875 w 1100"/>
                  <a:gd name="T55" fmla="*/ 611 h 883"/>
                  <a:gd name="T56" fmla="*/ 870 w 1100"/>
                  <a:gd name="T57" fmla="*/ 639 h 883"/>
                  <a:gd name="T58" fmla="*/ 849 w 1100"/>
                  <a:gd name="T59" fmla="*/ 682 h 883"/>
                  <a:gd name="T60" fmla="*/ 862 w 1100"/>
                  <a:gd name="T61" fmla="*/ 720 h 883"/>
                  <a:gd name="T62" fmla="*/ 872 w 1100"/>
                  <a:gd name="T63" fmla="*/ 755 h 883"/>
                  <a:gd name="T64" fmla="*/ 863 w 1100"/>
                  <a:gd name="T65" fmla="*/ 797 h 883"/>
                  <a:gd name="T66" fmla="*/ 808 w 1100"/>
                  <a:gd name="T67" fmla="*/ 810 h 883"/>
                  <a:gd name="T68" fmla="*/ 749 w 1100"/>
                  <a:gd name="T69" fmla="*/ 872 h 883"/>
                  <a:gd name="T70" fmla="*/ 743 w 1100"/>
                  <a:gd name="T71" fmla="*/ 766 h 883"/>
                  <a:gd name="T72" fmla="*/ 664 w 1100"/>
                  <a:gd name="T73" fmla="*/ 755 h 883"/>
                  <a:gd name="T74" fmla="*/ 593 w 1100"/>
                  <a:gd name="T75" fmla="*/ 756 h 883"/>
                  <a:gd name="T76" fmla="*/ 535 w 1100"/>
                  <a:gd name="T77" fmla="*/ 746 h 883"/>
                  <a:gd name="T78" fmla="*/ 437 w 1100"/>
                  <a:gd name="T79" fmla="*/ 800 h 883"/>
                  <a:gd name="T80" fmla="*/ 372 w 1100"/>
                  <a:gd name="T81" fmla="*/ 783 h 883"/>
                  <a:gd name="T82" fmla="*/ 310 w 1100"/>
                  <a:gd name="T83" fmla="*/ 855 h 883"/>
                  <a:gd name="T84" fmla="*/ 183 w 1100"/>
                  <a:gd name="T85" fmla="*/ 852 h 883"/>
                  <a:gd name="T86" fmla="*/ 80 w 1100"/>
                  <a:gd name="T87" fmla="*/ 827 h 883"/>
                  <a:gd name="T88" fmla="*/ 73 w 1100"/>
                  <a:gd name="T89" fmla="*/ 782 h 883"/>
                  <a:gd name="T90" fmla="*/ 43 w 1100"/>
                  <a:gd name="T91" fmla="*/ 738 h 883"/>
                  <a:gd name="T92" fmla="*/ 19 w 1100"/>
                  <a:gd name="T93" fmla="*/ 714 h 883"/>
                  <a:gd name="T94" fmla="*/ 63 w 1100"/>
                  <a:gd name="T95" fmla="*/ 660 h 883"/>
                  <a:gd name="T96" fmla="*/ 103 w 1100"/>
                  <a:gd name="T97" fmla="*/ 613 h 883"/>
                  <a:gd name="T98" fmla="*/ 82 w 1100"/>
                  <a:gd name="T99" fmla="*/ 548 h 883"/>
                  <a:gd name="T100" fmla="*/ 60 w 1100"/>
                  <a:gd name="T101" fmla="*/ 481 h 883"/>
                  <a:gd name="T102" fmla="*/ 12 w 1100"/>
                  <a:gd name="T103" fmla="*/ 410 h 883"/>
                  <a:gd name="T104" fmla="*/ 40 w 1100"/>
                  <a:gd name="T105" fmla="*/ 358 h 883"/>
                  <a:gd name="T106" fmla="*/ 78 w 1100"/>
                  <a:gd name="T107" fmla="*/ 316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00" h="883">
                    <a:moveTo>
                      <a:pt x="78" y="316"/>
                    </a:moveTo>
                    <a:cubicBezTo>
                      <a:pt x="86" y="313"/>
                      <a:pt x="96" y="334"/>
                      <a:pt x="100" y="314"/>
                    </a:cubicBezTo>
                    <a:cubicBezTo>
                      <a:pt x="113" y="304"/>
                      <a:pt x="126" y="302"/>
                      <a:pt x="132" y="320"/>
                    </a:cubicBezTo>
                    <a:cubicBezTo>
                      <a:pt x="137" y="332"/>
                      <a:pt x="155" y="334"/>
                      <a:pt x="160" y="326"/>
                    </a:cubicBezTo>
                    <a:cubicBezTo>
                      <a:pt x="166" y="318"/>
                      <a:pt x="171" y="319"/>
                      <a:pt x="181" y="318"/>
                    </a:cubicBezTo>
                    <a:cubicBezTo>
                      <a:pt x="187" y="327"/>
                      <a:pt x="186" y="339"/>
                      <a:pt x="200" y="343"/>
                    </a:cubicBezTo>
                    <a:cubicBezTo>
                      <a:pt x="216" y="342"/>
                      <a:pt x="186" y="316"/>
                      <a:pt x="207" y="317"/>
                    </a:cubicBezTo>
                    <a:cubicBezTo>
                      <a:pt x="217" y="324"/>
                      <a:pt x="221" y="298"/>
                      <a:pt x="212" y="303"/>
                    </a:cubicBezTo>
                    <a:cubicBezTo>
                      <a:pt x="206" y="290"/>
                      <a:pt x="223" y="290"/>
                      <a:pt x="227" y="278"/>
                    </a:cubicBezTo>
                    <a:cubicBezTo>
                      <a:pt x="226" y="274"/>
                      <a:pt x="242" y="267"/>
                      <a:pt x="249" y="275"/>
                    </a:cubicBezTo>
                    <a:cubicBezTo>
                      <a:pt x="254" y="276"/>
                      <a:pt x="273" y="268"/>
                      <a:pt x="260" y="261"/>
                    </a:cubicBezTo>
                    <a:cubicBezTo>
                      <a:pt x="252" y="257"/>
                      <a:pt x="265" y="238"/>
                      <a:pt x="251" y="246"/>
                    </a:cubicBezTo>
                    <a:cubicBezTo>
                      <a:pt x="233" y="251"/>
                      <a:pt x="254" y="237"/>
                      <a:pt x="252" y="231"/>
                    </a:cubicBezTo>
                    <a:cubicBezTo>
                      <a:pt x="240" y="223"/>
                      <a:pt x="252" y="209"/>
                      <a:pt x="264" y="222"/>
                    </a:cubicBezTo>
                    <a:cubicBezTo>
                      <a:pt x="274" y="222"/>
                      <a:pt x="285" y="211"/>
                      <a:pt x="305" y="216"/>
                    </a:cubicBezTo>
                    <a:cubicBezTo>
                      <a:pt x="319" y="213"/>
                      <a:pt x="335" y="219"/>
                      <a:pt x="345" y="206"/>
                    </a:cubicBezTo>
                    <a:cubicBezTo>
                      <a:pt x="358" y="201"/>
                      <a:pt x="371" y="195"/>
                      <a:pt x="383" y="204"/>
                    </a:cubicBezTo>
                    <a:cubicBezTo>
                      <a:pt x="394" y="199"/>
                      <a:pt x="406" y="204"/>
                      <a:pt x="416" y="207"/>
                    </a:cubicBezTo>
                    <a:cubicBezTo>
                      <a:pt x="418" y="207"/>
                      <a:pt x="424" y="207"/>
                      <a:pt x="429" y="205"/>
                    </a:cubicBezTo>
                    <a:cubicBezTo>
                      <a:pt x="441" y="212"/>
                      <a:pt x="436" y="196"/>
                      <a:pt x="436" y="184"/>
                    </a:cubicBezTo>
                    <a:cubicBezTo>
                      <a:pt x="442" y="163"/>
                      <a:pt x="429" y="171"/>
                      <a:pt x="423" y="159"/>
                    </a:cubicBezTo>
                    <a:cubicBezTo>
                      <a:pt x="416" y="151"/>
                      <a:pt x="403" y="141"/>
                      <a:pt x="424" y="142"/>
                    </a:cubicBezTo>
                    <a:cubicBezTo>
                      <a:pt x="446" y="143"/>
                      <a:pt x="442" y="130"/>
                      <a:pt x="427" y="121"/>
                    </a:cubicBezTo>
                    <a:cubicBezTo>
                      <a:pt x="419" y="111"/>
                      <a:pt x="429" y="98"/>
                      <a:pt x="431" y="88"/>
                    </a:cubicBezTo>
                    <a:cubicBezTo>
                      <a:pt x="435" y="78"/>
                      <a:pt x="426" y="50"/>
                      <a:pt x="449" y="65"/>
                    </a:cubicBezTo>
                    <a:cubicBezTo>
                      <a:pt x="465" y="66"/>
                      <a:pt x="468" y="49"/>
                      <a:pt x="481" y="43"/>
                    </a:cubicBezTo>
                    <a:cubicBezTo>
                      <a:pt x="478" y="25"/>
                      <a:pt x="498" y="29"/>
                      <a:pt x="499" y="18"/>
                    </a:cubicBezTo>
                    <a:cubicBezTo>
                      <a:pt x="509" y="13"/>
                      <a:pt x="533" y="26"/>
                      <a:pt x="523" y="17"/>
                    </a:cubicBezTo>
                    <a:cubicBezTo>
                      <a:pt x="532" y="19"/>
                      <a:pt x="539" y="11"/>
                      <a:pt x="545" y="23"/>
                    </a:cubicBezTo>
                    <a:cubicBezTo>
                      <a:pt x="551" y="27"/>
                      <a:pt x="556" y="17"/>
                      <a:pt x="558" y="29"/>
                    </a:cubicBezTo>
                    <a:cubicBezTo>
                      <a:pt x="563" y="28"/>
                      <a:pt x="555" y="2"/>
                      <a:pt x="571" y="15"/>
                    </a:cubicBezTo>
                    <a:cubicBezTo>
                      <a:pt x="575" y="21"/>
                      <a:pt x="580" y="36"/>
                      <a:pt x="591" y="29"/>
                    </a:cubicBezTo>
                    <a:cubicBezTo>
                      <a:pt x="603" y="30"/>
                      <a:pt x="609" y="49"/>
                      <a:pt x="615" y="49"/>
                    </a:cubicBezTo>
                    <a:cubicBezTo>
                      <a:pt x="635" y="61"/>
                      <a:pt x="614" y="32"/>
                      <a:pt x="632" y="39"/>
                    </a:cubicBezTo>
                    <a:cubicBezTo>
                      <a:pt x="645" y="41"/>
                      <a:pt x="611" y="13"/>
                      <a:pt x="631" y="12"/>
                    </a:cubicBezTo>
                    <a:cubicBezTo>
                      <a:pt x="648" y="14"/>
                      <a:pt x="663" y="12"/>
                      <a:pt x="677" y="4"/>
                    </a:cubicBezTo>
                    <a:cubicBezTo>
                      <a:pt x="693" y="0"/>
                      <a:pt x="710" y="13"/>
                      <a:pt x="726" y="3"/>
                    </a:cubicBezTo>
                    <a:cubicBezTo>
                      <a:pt x="724" y="19"/>
                      <a:pt x="717" y="36"/>
                      <a:pt x="722" y="52"/>
                    </a:cubicBezTo>
                    <a:cubicBezTo>
                      <a:pt x="711" y="74"/>
                      <a:pt x="735" y="67"/>
                      <a:pt x="739" y="76"/>
                    </a:cubicBezTo>
                    <a:cubicBezTo>
                      <a:pt x="739" y="83"/>
                      <a:pt x="735" y="100"/>
                      <a:pt x="743" y="104"/>
                    </a:cubicBezTo>
                    <a:cubicBezTo>
                      <a:pt x="734" y="121"/>
                      <a:pt x="761" y="123"/>
                      <a:pt x="772" y="129"/>
                    </a:cubicBezTo>
                    <a:cubicBezTo>
                      <a:pt x="787" y="136"/>
                      <a:pt x="792" y="118"/>
                      <a:pt x="801" y="135"/>
                    </a:cubicBezTo>
                    <a:cubicBezTo>
                      <a:pt x="808" y="137"/>
                      <a:pt x="815" y="128"/>
                      <a:pt x="817" y="135"/>
                    </a:cubicBezTo>
                    <a:cubicBezTo>
                      <a:pt x="817" y="143"/>
                      <a:pt x="818" y="144"/>
                      <a:pt x="824" y="152"/>
                    </a:cubicBezTo>
                    <a:cubicBezTo>
                      <a:pt x="826" y="153"/>
                      <a:pt x="831" y="156"/>
                      <a:pt x="835" y="163"/>
                    </a:cubicBezTo>
                    <a:cubicBezTo>
                      <a:pt x="832" y="170"/>
                      <a:pt x="848" y="181"/>
                      <a:pt x="856" y="191"/>
                    </a:cubicBezTo>
                    <a:cubicBezTo>
                      <a:pt x="877" y="195"/>
                      <a:pt x="896" y="209"/>
                      <a:pt x="919" y="202"/>
                    </a:cubicBezTo>
                    <a:cubicBezTo>
                      <a:pt x="930" y="198"/>
                      <a:pt x="933" y="211"/>
                      <a:pt x="948" y="211"/>
                    </a:cubicBezTo>
                    <a:cubicBezTo>
                      <a:pt x="955" y="222"/>
                      <a:pt x="978" y="213"/>
                      <a:pt x="977" y="222"/>
                    </a:cubicBezTo>
                    <a:cubicBezTo>
                      <a:pt x="968" y="231"/>
                      <a:pt x="957" y="244"/>
                      <a:pt x="971" y="255"/>
                    </a:cubicBezTo>
                    <a:cubicBezTo>
                      <a:pt x="986" y="268"/>
                      <a:pt x="972" y="270"/>
                      <a:pt x="975" y="281"/>
                    </a:cubicBezTo>
                    <a:cubicBezTo>
                      <a:pt x="981" y="295"/>
                      <a:pt x="988" y="298"/>
                      <a:pt x="1007" y="297"/>
                    </a:cubicBezTo>
                    <a:cubicBezTo>
                      <a:pt x="1000" y="306"/>
                      <a:pt x="1002" y="312"/>
                      <a:pt x="1022" y="308"/>
                    </a:cubicBezTo>
                    <a:cubicBezTo>
                      <a:pt x="1029" y="316"/>
                      <a:pt x="1046" y="310"/>
                      <a:pt x="1041" y="320"/>
                    </a:cubicBezTo>
                    <a:cubicBezTo>
                      <a:pt x="1027" y="329"/>
                      <a:pt x="1058" y="335"/>
                      <a:pt x="1059" y="341"/>
                    </a:cubicBezTo>
                    <a:cubicBezTo>
                      <a:pt x="1054" y="359"/>
                      <a:pt x="1089" y="353"/>
                      <a:pt x="1099" y="363"/>
                    </a:cubicBezTo>
                    <a:cubicBezTo>
                      <a:pt x="1100" y="363"/>
                      <a:pt x="1100" y="363"/>
                      <a:pt x="1100" y="363"/>
                    </a:cubicBezTo>
                    <a:cubicBezTo>
                      <a:pt x="1094" y="376"/>
                      <a:pt x="1077" y="379"/>
                      <a:pt x="1065" y="386"/>
                    </a:cubicBezTo>
                    <a:cubicBezTo>
                      <a:pt x="1052" y="392"/>
                      <a:pt x="1076" y="407"/>
                      <a:pt x="1079" y="417"/>
                    </a:cubicBezTo>
                    <a:cubicBezTo>
                      <a:pt x="1083" y="432"/>
                      <a:pt x="1076" y="450"/>
                      <a:pt x="1076" y="466"/>
                    </a:cubicBezTo>
                    <a:cubicBezTo>
                      <a:pt x="1077" y="483"/>
                      <a:pt x="1056" y="485"/>
                      <a:pt x="1043" y="495"/>
                    </a:cubicBezTo>
                    <a:cubicBezTo>
                      <a:pt x="1043" y="495"/>
                      <a:pt x="1043" y="496"/>
                      <a:pt x="1042" y="496"/>
                    </a:cubicBezTo>
                    <a:cubicBezTo>
                      <a:pt x="1034" y="504"/>
                      <a:pt x="1034" y="504"/>
                      <a:pt x="1034" y="504"/>
                    </a:cubicBezTo>
                    <a:cubicBezTo>
                      <a:pt x="1027" y="500"/>
                      <a:pt x="1027" y="500"/>
                      <a:pt x="1027" y="500"/>
                    </a:cubicBezTo>
                    <a:cubicBezTo>
                      <a:pt x="1018" y="514"/>
                      <a:pt x="1018" y="514"/>
                      <a:pt x="1018" y="514"/>
                    </a:cubicBezTo>
                    <a:cubicBezTo>
                      <a:pt x="983" y="484"/>
                      <a:pt x="983" y="484"/>
                      <a:pt x="983" y="484"/>
                    </a:cubicBezTo>
                    <a:cubicBezTo>
                      <a:pt x="967" y="490"/>
                      <a:pt x="967" y="490"/>
                      <a:pt x="967" y="490"/>
                    </a:cubicBezTo>
                    <a:cubicBezTo>
                      <a:pt x="957" y="483"/>
                      <a:pt x="957" y="483"/>
                      <a:pt x="957" y="483"/>
                    </a:cubicBezTo>
                    <a:cubicBezTo>
                      <a:pt x="949" y="481"/>
                      <a:pt x="949" y="481"/>
                      <a:pt x="949" y="481"/>
                    </a:cubicBezTo>
                    <a:cubicBezTo>
                      <a:pt x="947" y="462"/>
                      <a:pt x="947" y="462"/>
                      <a:pt x="947" y="462"/>
                    </a:cubicBezTo>
                    <a:cubicBezTo>
                      <a:pt x="933" y="450"/>
                      <a:pt x="933" y="450"/>
                      <a:pt x="933" y="450"/>
                    </a:cubicBezTo>
                    <a:cubicBezTo>
                      <a:pt x="929" y="461"/>
                      <a:pt x="929" y="461"/>
                      <a:pt x="929" y="461"/>
                    </a:cubicBezTo>
                    <a:cubicBezTo>
                      <a:pt x="914" y="451"/>
                      <a:pt x="914" y="451"/>
                      <a:pt x="914" y="451"/>
                    </a:cubicBezTo>
                    <a:cubicBezTo>
                      <a:pt x="914" y="451"/>
                      <a:pt x="899" y="466"/>
                      <a:pt x="899" y="468"/>
                    </a:cubicBezTo>
                    <a:cubicBezTo>
                      <a:pt x="899" y="471"/>
                      <a:pt x="892" y="484"/>
                      <a:pt x="892" y="484"/>
                    </a:cubicBezTo>
                    <a:cubicBezTo>
                      <a:pt x="879" y="484"/>
                      <a:pt x="879" y="484"/>
                      <a:pt x="879" y="484"/>
                    </a:cubicBezTo>
                    <a:cubicBezTo>
                      <a:pt x="879" y="484"/>
                      <a:pt x="878" y="495"/>
                      <a:pt x="879" y="499"/>
                    </a:cubicBezTo>
                    <a:cubicBezTo>
                      <a:pt x="880" y="502"/>
                      <a:pt x="869" y="515"/>
                      <a:pt x="869" y="515"/>
                    </a:cubicBezTo>
                    <a:cubicBezTo>
                      <a:pt x="875" y="553"/>
                      <a:pt x="875" y="553"/>
                      <a:pt x="875" y="553"/>
                    </a:cubicBezTo>
                    <a:cubicBezTo>
                      <a:pt x="887" y="563"/>
                      <a:pt x="887" y="563"/>
                      <a:pt x="887" y="563"/>
                    </a:cubicBezTo>
                    <a:cubicBezTo>
                      <a:pt x="886" y="587"/>
                      <a:pt x="886" y="587"/>
                      <a:pt x="886" y="587"/>
                    </a:cubicBezTo>
                    <a:cubicBezTo>
                      <a:pt x="868" y="587"/>
                      <a:pt x="868" y="587"/>
                      <a:pt x="868" y="587"/>
                    </a:cubicBezTo>
                    <a:cubicBezTo>
                      <a:pt x="864" y="596"/>
                      <a:pt x="864" y="596"/>
                      <a:pt x="864" y="596"/>
                    </a:cubicBezTo>
                    <a:cubicBezTo>
                      <a:pt x="875" y="611"/>
                      <a:pt x="875" y="611"/>
                      <a:pt x="875" y="611"/>
                    </a:cubicBezTo>
                    <a:cubicBezTo>
                      <a:pt x="875" y="611"/>
                      <a:pt x="885" y="608"/>
                      <a:pt x="885" y="612"/>
                    </a:cubicBezTo>
                    <a:cubicBezTo>
                      <a:pt x="886" y="617"/>
                      <a:pt x="883" y="630"/>
                      <a:pt x="883" y="630"/>
                    </a:cubicBezTo>
                    <a:cubicBezTo>
                      <a:pt x="870" y="639"/>
                      <a:pt x="870" y="639"/>
                      <a:pt x="870" y="639"/>
                    </a:cubicBezTo>
                    <a:cubicBezTo>
                      <a:pt x="851" y="644"/>
                      <a:pt x="851" y="644"/>
                      <a:pt x="851" y="644"/>
                    </a:cubicBezTo>
                    <a:cubicBezTo>
                      <a:pt x="852" y="668"/>
                      <a:pt x="852" y="668"/>
                      <a:pt x="852" y="668"/>
                    </a:cubicBezTo>
                    <a:cubicBezTo>
                      <a:pt x="849" y="682"/>
                      <a:pt x="849" y="682"/>
                      <a:pt x="849" y="682"/>
                    </a:cubicBezTo>
                    <a:cubicBezTo>
                      <a:pt x="866" y="684"/>
                      <a:pt x="866" y="684"/>
                      <a:pt x="866" y="684"/>
                    </a:cubicBezTo>
                    <a:cubicBezTo>
                      <a:pt x="872" y="694"/>
                      <a:pt x="872" y="694"/>
                      <a:pt x="872" y="694"/>
                    </a:cubicBezTo>
                    <a:cubicBezTo>
                      <a:pt x="862" y="720"/>
                      <a:pt x="862" y="720"/>
                      <a:pt x="862" y="720"/>
                    </a:cubicBezTo>
                    <a:cubicBezTo>
                      <a:pt x="851" y="721"/>
                      <a:pt x="851" y="721"/>
                      <a:pt x="851" y="721"/>
                    </a:cubicBezTo>
                    <a:cubicBezTo>
                      <a:pt x="851" y="735"/>
                      <a:pt x="851" y="735"/>
                      <a:pt x="851" y="735"/>
                    </a:cubicBezTo>
                    <a:cubicBezTo>
                      <a:pt x="872" y="755"/>
                      <a:pt x="872" y="755"/>
                      <a:pt x="872" y="755"/>
                    </a:cubicBezTo>
                    <a:cubicBezTo>
                      <a:pt x="867" y="771"/>
                      <a:pt x="867" y="771"/>
                      <a:pt x="867" y="771"/>
                    </a:cubicBezTo>
                    <a:cubicBezTo>
                      <a:pt x="876" y="778"/>
                      <a:pt x="876" y="778"/>
                      <a:pt x="876" y="778"/>
                    </a:cubicBezTo>
                    <a:cubicBezTo>
                      <a:pt x="873" y="780"/>
                      <a:pt x="865" y="790"/>
                      <a:pt x="863" y="797"/>
                    </a:cubicBezTo>
                    <a:cubicBezTo>
                      <a:pt x="862" y="799"/>
                      <a:pt x="854" y="811"/>
                      <a:pt x="849" y="807"/>
                    </a:cubicBezTo>
                    <a:cubicBezTo>
                      <a:pt x="846" y="812"/>
                      <a:pt x="832" y="807"/>
                      <a:pt x="836" y="799"/>
                    </a:cubicBezTo>
                    <a:cubicBezTo>
                      <a:pt x="825" y="797"/>
                      <a:pt x="814" y="809"/>
                      <a:pt x="808" y="810"/>
                    </a:cubicBezTo>
                    <a:cubicBezTo>
                      <a:pt x="806" y="823"/>
                      <a:pt x="786" y="818"/>
                      <a:pt x="786" y="832"/>
                    </a:cubicBezTo>
                    <a:cubicBezTo>
                      <a:pt x="783" y="847"/>
                      <a:pt x="768" y="853"/>
                      <a:pt x="768" y="871"/>
                    </a:cubicBezTo>
                    <a:cubicBezTo>
                      <a:pt x="767" y="878"/>
                      <a:pt x="740" y="881"/>
                      <a:pt x="749" y="872"/>
                    </a:cubicBezTo>
                    <a:cubicBezTo>
                      <a:pt x="738" y="865"/>
                      <a:pt x="744" y="850"/>
                      <a:pt x="739" y="847"/>
                    </a:cubicBezTo>
                    <a:cubicBezTo>
                      <a:pt x="733" y="833"/>
                      <a:pt x="734" y="818"/>
                      <a:pt x="737" y="804"/>
                    </a:cubicBezTo>
                    <a:cubicBezTo>
                      <a:pt x="735" y="790"/>
                      <a:pt x="750" y="778"/>
                      <a:pt x="743" y="766"/>
                    </a:cubicBezTo>
                    <a:cubicBezTo>
                      <a:pt x="737" y="753"/>
                      <a:pt x="722" y="753"/>
                      <a:pt x="714" y="746"/>
                    </a:cubicBezTo>
                    <a:cubicBezTo>
                      <a:pt x="715" y="746"/>
                      <a:pt x="696" y="726"/>
                      <a:pt x="692" y="736"/>
                    </a:cubicBezTo>
                    <a:cubicBezTo>
                      <a:pt x="679" y="738"/>
                      <a:pt x="673" y="749"/>
                      <a:pt x="664" y="755"/>
                    </a:cubicBezTo>
                    <a:cubicBezTo>
                      <a:pt x="659" y="765"/>
                      <a:pt x="649" y="768"/>
                      <a:pt x="642" y="769"/>
                    </a:cubicBezTo>
                    <a:cubicBezTo>
                      <a:pt x="644" y="769"/>
                      <a:pt x="634" y="755"/>
                      <a:pt x="623" y="766"/>
                    </a:cubicBezTo>
                    <a:cubicBezTo>
                      <a:pt x="610" y="770"/>
                      <a:pt x="603" y="757"/>
                      <a:pt x="593" y="756"/>
                    </a:cubicBezTo>
                    <a:cubicBezTo>
                      <a:pt x="582" y="757"/>
                      <a:pt x="582" y="740"/>
                      <a:pt x="573" y="744"/>
                    </a:cubicBezTo>
                    <a:cubicBezTo>
                      <a:pt x="568" y="753"/>
                      <a:pt x="559" y="746"/>
                      <a:pt x="555" y="748"/>
                    </a:cubicBezTo>
                    <a:cubicBezTo>
                      <a:pt x="552" y="743"/>
                      <a:pt x="541" y="733"/>
                      <a:pt x="535" y="746"/>
                    </a:cubicBezTo>
                    <a:cubicBezTo>
                      <a:pt x="527" y="760"/>
                      <a:pt x="524" y="778"/>
                      <a:pt x="506" y="784"/>
                    </a:cubicBezTo>
                    <a:cubicBezTo>
                      <a:pt x="495" y="790"/>
                      <a:pt x="482" y="793"/>
                      <a:pt x="470" y="800"/>
                    </a:cubicBezTo>
                    <a:cubicBezTo>
                      <a:pt x="463" y="807"/>
                      <a:pt x="432" y="813"/>
                      <a:pt x="437" y="800"/>
                    </a:cubicBezTo>
                    <a:cubicBezTo>
                      <a:pt x="421" y="795"/>
                      <a:pt x="460" y="787"/>
                      <a:pt x="447" y="777"/>
                    </a:cubicBezTo>
                    <a:cubicBezTo>
                      <a:pt x="436" y="766"/>
                      <a:pt x="422" y="745"/>
                      <a:pt x="405" y="759"/>
                    </a:cubicBezTo>
                    <a:cubicBezTo>
                      <a:pt x="402" y="774"/>
                      <a:pt x="386" y="776"/>
                      <a:pt x="372" y="783"/>
                    </a:cubicBezTo>
                    <a:cubicBezTo>
                      <a:pt x="354" y="788"/>
                      <a:pt x="363" y="808"/>
                      <a:pt x="355" y="820"/>
                    </a:cubicBezTo>
                    <a:cubicBezTo>
                      <a:pt x="349" y="829"/>
                      <a:pt x="353" y="832"/>
                      <a:pt x="340" y="843"/>
                    </a:cubicBezTo>
                    <a:cubicBezTo>
                      <a:pt x="332" y="845"/>
                      <a:pt x="311" y="844"/>
                      <a:pt x="310" y="855"/>
                    </a:cubicBezTo>
                    <a:cubicBezTo>
                      <a:pt x="297" y="856"/>
                      <a:pt x="281" y="868"/>
                      <a:pt x="277" y="876"/>
                    </a:cubicBezTo>
                    <a:cubicBezTo>
                      <a:pt x="274" y="883"/>
                      <a:pt x="257" y="870"/>
                      <a:pt x="249" y="867"/>
                    </a:cubicBezTo>
                    <a:cubicBezTo>
                      <a:pt x="228" y="862"/>
                      <a:pt x="204" y="856"/>
                      <a:pt x="183" y="852"/>
                    </a:cubicBezTo>
                    <a:cubicBezTo>
                      <a:pt x="175" y="840"/>
                      <a:pt x="154" y="843"/>
                      <a:pt x="152" y="836"/>
                    </a:cubicBezTo>
                    <a:cubicBezTo>
                      <a:pt x="145" y="830"/>
                      <a:pt x="133" y="841"/>
                      <a:pt x="121" y="842"/>
                    </a:cubicBezTo>
                    <a:cubicBezTo>
                      <a:pt x="103" y="853"/>
                      <a:pt x="93" y="837"/>
                      <a:pt x="80" y="827"/>
                    </a:cubicBezTo>
                    <a:cubicBezTo>
                      <a:pt x="74" y="824"/>
                      <a:pt x="67" y="815"/>
                      <a:pt x="61" y="811"/>
                    </a:cubicBezTo>
                    <a:cubicBezTo>
                      <a:pt x="60" y="811"/>
                      <a:pt x="60" y="811"/>
                      <a:pt x="60" y="811"/>
                    </a:cubicBezTo>
                    <a:cubicBezTo>
                      <a:pt x="65" y="802"/>
                      <a:pt x="70" y="791"/>
                      <a:pt x="73" y="782"/>
                    </a:cubicBezTo>
                    <a:cubicBezTo>
                      <a:pt x="85" y="772"/>
                      <a:pt x="76" y="757"/>
                      <a:pt x="90" y="756"/>
                    </a:cubicBezTo>
                    <a:cubicBezTo>
                      <a:pt x="81" y="750"/>
                      <a:pt x="85" y="727"/>
                      <a:pt x="72" y="732"/>
                    </a:cubicBezTo>
                    <a:cubicBezTo>
                      <a:pt x="63" y="738"/>
                      <a:pt x="46" y="757"/>
                      <a:pt x="43" y="738"/>
                    </a:cubicBezTo>
                    <a:cubicBezTo>
                      <a:pt x="28" y="749"/>
                      <a:pt x="17" y="740"/>
                      <a:pt x="14" y="734"/>
                    </a:cubicBezTo>
                    <a:cubicBezTo>
                      <a:pt x="10" y="735"/>
                      <a:pt x="10" y="726"/>
                      <a:pt x="13" y="719"/>
                    </a:cubicBezTo>
                    <a:cubicBezTo>
                      <a:pt x="15" y="717"/>
                      <a:pt x="17" y="715"/>
                      <a:pt x="19" y="714"/>
                    </a:cubicBezTo>
                    <a:cubicBezTo>
                      <a:pt x="38" y="719"/>
                      <a:pt x="39" y="697"/>
                      <a:pt x="55" y="692"/>
                    </a:cubicBezTo>
                    <a:cubicBezTo>
                      <a:pt x="62" y="681"/>
                      <a:pt x="72" y="679"/>
                      <a:pt x="88" y="678"/>
                    </a:cubicBezTo>
                    <a:cubicBezTo>
                      <a:pt x="92" y="659"/>
                      <a:pt x="66" y="674"/>
                      <a:pt x="63" y="660"/>
                    </a:cubicBezTo>
                    <a:cubicBezTo>
                      <a:pt x="56" y="646"/>
                      <a:pt x="48" y="657"/>
                      <a:pt x="61" y="639"/>
                    </a:cubicBezTo>
                    <a:cubicBezTo>
                      <a:pt x="71" y="627"/>
                      <a:pt x="62" y="613"/>
                      <a:pt x="66" y="605"/>
                    </a:cubicBezTo>
                    <a:cubicBezTo>
                      <a:pt x="78" y="615"/>
                      <a:pt x="89" y="611"/>
                      <a:pt x="103" y="613"/>
                    </a:cubicBezTo>
                    <a:cubicBezTo>
                      <a:pt x="110" y="606"/>
                      <a:pt x="114" y="590"/>
                      <a:pt x="106" y="581"/>
                    </a:cubicBezTo>
                    <a:cubicBezTo>
                      <a:pt x="97" y="579"/>
                      <a:pt x="87" y="590"/>
                      <a:pt x="94" y="571"/>
                    </a:cubicBezTo>
                    <a:cubicBezTo>
                      <a:pt x="85" y="563"/>
                      <a:pt x="74" y="564"/>
                      <a:pt x="82" y="548"/>
                    </a:cubicBezTo>
                    <a:cubicBezTo>
                      <a:pt x="72" y="545"/>
                      <a:pt x="62" y="535"/>
                      <a:pt x="78" y="527"/>
                    </a:cubicBezTo>
                    <a:cubicBezTo>
                      <a:pt x="80" y="516"/>
                      <a:pt x="51" y="526"/>
                      <a:pt x="57" y="512"/>
                    </a:cubicBezTo>
                    <a:cubicBezTo>
                      <a:pt x="66" y="503"/>
                      <a:pt x="48" y="492"/>
                      <a:pt x="60" y="481"/>
                    </a:cubicBezTo>
                    <a:cubicBezTo>
                      <a:pt x="65" y="471"/>
                      <a:pt x="40" y="473"/>
                      <a:pt x="39" y="466"/>
                    </a:cubicBezTo>
                    <a:cubicBezTo>
                      <a:pt x="32" y="457"/>
                      <a:pt x="24" y="451"/>
                      <a:pt x="21" y="439"/>
                    </a:cubicBezTo>
                    <a:cubicBezTo>
                      <a:pt x="14" y="429"/>
                      <a:pt x="21" y="420"/>
                      <a:pt x="12" y="410"/>
                    </a:cubicBezTo>
                    <a:cubicBezTo>
                      <a:pt x="0" y="400"/>
                      <a:pt x="15" y="394"/>
                      <a:pt x="21" y="383"/>
                    </a:cubicBezTo>
                    <a:cubicBezTo>
                      <a:pt x="22" y="382"/>
                      <a:pt x="22" y="382"/>
                      <a:pt x="22" y="382"/>
                    </a:cubicBezTo>
                    <a:cubicBezTo>
                      <a:pt x="28" y="372"/>
                      <a:pt x="38" y="370"/>
                      <a:pt x="40" y="358"/>
                    </a:cubicBezTo>
                    <a:cubicBezTo>
                      <a:pt x="48" y="351"/>
                      <a:pt x="52" y="352"/>
                      <a:pt x="58" y="341"/>
                    </a:cubicBezTo>
                    <a:cubicBezTo>
                      <a:pt x="65" y="333"/>
                      <a:pt x="73" y="329"/>
                      <a:pt x="76" y="316"/>
                    </a:cubicBezTo>
                    <a:cubicBezTo>
                      <a:pt x="77" y="316"/>
                      <a:pt x="77" y="316"/>
                      <a:pt x="78" y="316"/>
                    </a:cubicBezTo>
                    <a:close/>
                  </a:path>
                </a:pathLst>
              </a:custGeom>
              <a:solidFill>
                <a:srgbClr val="9393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79" name="Freeform 14">
                <a:extLst>
                  <a:ext uri="{FF2B5EF4-FFF2-40B4-BE49-F238E27FC236}">
                    <a16:creationId xmlns:a16="http://schemas.microsoft.com/office/drawing/2014/main" id="{474E0BD7-8F62-41AD-8FA8-DDB476F6C3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5764" y="658813"/>
                <a:ext cx="3211514" cy="1803401"/>
              </a:xfrm>
              <a:custGeom>
                <a:avLst/>
                <a:gdLst>
                  <a:gd name="T0" fmla="*/ 1304 w 1915"/>
                  <a:gd name="T1" fmla="*/ 187 h 1078"/>
                  <a:gd name="T2" fmla="*/ 1097 w 1915"/>
                  <a:gd name="T3" fmla="*/ 86 h 1078"/>
                  <a:gd name="T4" fmla="*/ 1103 w 1915"/>
                  <a:gd name="T5" fmla="*/ 110 h 1078"/>
                  <a:gd name="T6" fmla="*/ 1119 w 1915"/>
                  <a:gd name="T7" fmla="*/ 79 h 1078"/>
                  <a:gd name="T8" fmla="*/ 1419 w 1915"/>
                  <a:gd name="T9" fmla="*/ 279 h 1078"/>
                  <a:gd name="T10" fmla="*/ 1803 w 1915"/>
                  <a:gd name="T11" fmla="*/ 17 h 1078"/>
                  <a:gd name="T12" fmla="*/ 719 w 1915"/>
                  <a:gd name="T13" fmla="*/ 228 h 1078"/>
                  <a:gd name="T14" fmla="*/ 678 w 1915"/>
                  <a:gd name="T15" fmla="*/ 127 h 1078"/>
                  <a:gd name="T16" fmla="*/ 668 w 1915"/>
                  <a:gd name="T17" fmla="*/ 215 h 1078"/>
                  <a:gd name="T18" fmla="*/ 887 w 1915"/>
                  <a:gd name="T19" fmla="*/ 150 h 1078"/>
                  <a:gd name="T20" fmla="*/ 186 w 1915"/>
                  <a:gd name="T21" fmla="*/ 568 h 1078"/>
                  <a:gd name="T22" fmla="*/ 127 w 1915"/>
                  <a:gd name="T23" fmla="*/ 528 h 1078"/>
                  <a:gd name="T24" fmla="*/ 1889 w 1915"/>
                  <a:gd name="T25" fmla="*/ 511 h 1078"/>
                  <a:gd name="T26" fmla="*/ 1777 w 1915"/>
                  <a:gd name="T27" fmla="*/ 245 h 1078"/>
                  <a:gd name="T28" fmla="*/ 1774 w 1915"/>
                  <a:gd name="T29" fmla="*/ 179 h 1078"/>
                  <a:gd name="T30" fmla="*/ 1756 w 1915"/>
                  <a:gd name="T31" fmla="*/ 71 h 1078"/>
                  <a:gd name="T32" fmla="*/ 1695 w 1915"/>
                  <a:gd name="T33" fmla="*/ 19 h 1078"/>
                  <a:gd name="T34" fmla="*/ 1687 w 1915"/>
                  <a:gd name="T35" fmla="*/ 111 h 1078"/>
                  <a:gd name="T36" fmla="*/ 1680 w 1915"/>
                  <a:gd name="T37" fmla="*/ 186 h 1078"/>
                  <a:gd name="T38" fmla="*/ 1616 w 1915"/>
                  <a:gd name="T39" fmla="*/ 134 h 1078"/>
                  <a:gd name="T40" fmla="*/ 1567 w 1915"/>
                  <a:gd name="T41" fmla="*/ 117 h 1078"/>
                  <a:gd name="T42" fmla="*/ 1520 w 1915"/>
                  <a:gd name="T43" fmla="*/ 121 h 1078"/>
                  <a:gd name="T44" fmla="*/ 1560 w 1915"/>
                  <a:gd name="T45" fmla="*/ 257 h 1078"/>
                  <a:gd name="T46" fmla="*/ 1460 w 1915"/>
                  <a:gd name="T47" fmla="*/ 306 h 1078"/>
                  <a:gd name="T48" fmla="*/ 1339 w 1915"/>
                  <a:gd name="T49" fmla="*/ 254 h 1078"/>
                  <a:gd name="T50" fmla="*/ 1263 w 1915"/>
                  <a:gd name="T51" fmla="*/ 254 h 1078"/>
                  <a:gd name="T52" fmla="*/ 1236 w 1915"/>
                  <a:gd name="T53" fmla="*/ 272 h 1078"/>
                  <a:gd name="T54" fmla="*/ 1174 w 1915"/>
                  <a:gd name="T55" fmla="*/ 285 h 1078"/>
                  <a:gd name="T56" fmla="*/ 1065 w 1915"/>
                  <a:gd name="T57" fmla="*/ 310 h 1078"/>
                  <a:gd name="T58" fmla="*/ 998 w 1915"/>
                  <a:gd name="T59" fmla="*/ 212 h 1078"/>
                  <a:gd name="T60" fmla="*/ 922 w 1915"/>
                  <a:gd name="T61" fmla="*/ 183 h 1078"/>
                  <a:gd name="T62" fmla="*/ 950 w 1915"/>
                  <a:gd name="T63" fmla="*/ 339 h 1078"/>
                  <a:gd name="T64" fmla="*/ 856 w 1915"/>
                  <a:gd name="T65" fmla="*/ 334 h 1078"/>
                  <a:gd name="T66" fmla="*/ 830 w 1915"/>
                  <a:gd name="T67" fmla="*/ 342 h 1078"/>
                  <a:gd name="T68" fmla="*/ 803 w 1915"/>
                  <a:gd name="T69" fmla="*/ 362 h 1078"/>
                  <a:gd name="T70" fmla="*/ 780 w 1915"/>
                  <a:gd name="T71" fmla="*/ 385 h 1078"/>
                  <a:gd name="T72" fmla="*/ 637 w 1915"/>
                  <a:gd name="T73" fmla="*/ 339 h 1078"/>
                  <a:gd name="T74" fmla="*/ 535 w 1915"/>
                  <a:gd name="T75" fmla="*/ 353 h 1078"/>
                  <a:gd name="T76" fmla="*/ 462 w 1915"/>
                  <a:gd name="T77" fmla="*/ 440 h 1078"/>
                  <a:gd name="T78" fmla="*/ 393 w 1915"/>
                  <a:gd name="T79" fmla="*/ 459 h 1078"/>
                  <a:gd name="T80" fmla="*/ 438 w 1915"/>
                  <a:gd name="T81" fmla="*/ 535 h 1078"/>
                  <a:gd name="T82" fmla="*/ 264 w 1915"/>
                  <a:gd name="T83" fmla="*/ 461 h 1078"/>
                  <a:gd name="T84" fmla="*/ 326 w 1915"/>
                  <a:gd name="T85" fmla="*/ 578 h 1078"/>
                  <a:gd name="T86" fmla="*/ 297 w 1915"/>
                  <a:gd name="T87" fmla="*/ 641 h 1078"/>
                  <a:gd name="T88" fmla="*/ 250 w 1915"/>
                  <a:gd name="T89" fmla="*/ 622 h 1078"/>
                  <a:gd name="T90" fmla="*/ 160 w 1915"/>
                  <a:gd name="T91" fmla="*/ 636 h 1078"/>
                  <a:gd name="T92" fmla="*/ 73 w 1915"/>
                  <a:gd name="T93" fmla="*/ 626 h 1078"/>
                  <a:gd name="T94" fmla="*/ 0 w 1915"/>
                  <a:gd name="T95" fmla="*/ 642 h 1078"/>
                  <a:gd name="T96" fmla="*/ 94 w 1915"/>
                  <a:gd name="T97" fmla="*/ 796 h 1078"/>
                  <a:gd name="T98" fmla="*/ 366 w 1915"/>
                  <a:gd name="T99" fmla="*/ 964 h 1078"/>
                  <a:gd name="T100" fmla="*/ 494 w 1915"/>
                  <a:gd name="T101" fmla="*/ 1058 h 1078"/>
                  <a:gd name="T102" fmla="*/ 640 w 1915"/>
                  <a:gd name="T103" fmla="*/ 921 h 1078"/>
                  <a:gd name="T104" fmla="*/ 775 w 1915"/>
                  <a:gd name="T105" fmla="*/ 758 h 1078"/>
                  <a:gd name="T106" fmla="*/ 971 w 1915"/>
                  <a:gd name="T107" fmla="*/ 719 h 1078"/>
                  <a:gd name="T108" fmla="*/ 1150 w 1915"/>
                  <a:gd name="T109" fmla="*/ 906 h 1078"/>
                  <a:gd name="T110" fmla="*/ 1393 w 1915"/>
                  <a:gd name="T111" fmla="*/ 1078 h 1078"/>
                  <a:gd name="T112" fmla="*/ 1505 w 1915"/>
                  <a:gd name="T113" fmla="*/ 901 h 1078"/>
                  <a:gd name="T114" fmla="*/ 1527 w 1915"/>
                  <a:gd name="T115" fmla="*/ 642 h 1078"/>
                  <a:gd name="T116" fmla="*/ 1716 w 1915"/>
                  <a:gd name="T117" fmla="*/ 629 h 1078"/>
                  <a:gd name="T118" fmla="*/ 207 w 1915"/>
                  <a:gd name="T119" fmla="*/ 553 h 1078"/>
                  <a:gd name="T120" fmla="*/ 204 w 1915"/>
                  <a:gd name="T121" fmla="*/ 501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15" h="1078">
                    <a:moveTo>
                      <a:pt x="1186" y="145"/>
                    </a:moveTo>
                    <a:cubicBezTo>
                      <a:pt x="1187" y="142"/>
                      <a:pt x="1187" y="142"/>
                      <a:pt x="1187" y="142"/>
                    </a:cubicBezTo>
                    <a:cubicBezTo>
                      <a:pt x="1169" y="123"/>
                      <a:pt x="1169" y="123"/>
                      <a:pt x="1169" y="123"/>
                    </a:cubicBezTo>
                    <a:cubicBezTo>
                      <a:pt x="1167" y="133"/>
                      <a:pt x="1167" y="133"/>
                      <a:pt x="1167" y="133"/>
                    </a:cubicBezTo>
                    <a:cubicBezTo>
                      <a:pt x="1183" y="146"/>
                      <a:pt x="1183" y="146"/>
                      <a:pt x="1183" y="146"/>
                    </a:cubicBezTo>
                    <a:lnTo>
                      <a:pt x="1186" y="145"/>
                    </a:lnTo>
                    <a:close/>
                    <a:moveTo>
                      <a:pt x="1287" y="185"/>
                    </a:moveTo>
                    <a:cubicBezTo>
                      <a:pt x="1294" y="185"/>
                      <a:pt x="1294" y="185"/>
                      <a:pt x="1294" y="185"/>
                    </a:cubicBezTo>
                    <a:cubicBezTo>
                      <a:pt x="1304" y="192"/>
                      <a:pt x="1304" y="192"/>
                      <a:pt x="1304" y="192"/>
                    </a:cubicBezTo>
                    <a:cubicBezTo>
                      <a:pt x="1304" y="187"/>
                      <a:pt x="1304" y="187"/>
                      <a:pt x="1304" y="187"/>
                    </a:cubicBezTo>
                    <a:cubicBezTo>
                      <a:pt x="1297" y="177"/>
                      <a:pt x="1297" y="177"/>
                      <a:pt x="1297" y="177"/>
                    </a:cubicBezTo>
                    <a:cubicBezTo>
                      <a:pt x="1296" y="170"/>
                      <a:pt x="1296" y="170"/>
                      <a:pt x="1296" y="170"/>
                    </a:cubicBezTo>
                    <a:cubicBezTo>
                      <a:pt x="1290" y="167"/>
                      <a:pt x="1290" y="167"/>
                      <a:pt x="1290" y="167"/>
                    </a:cubicBezTo>
                    <a:cubicBezTo>
                      <a:pt x="1286" y="170"/>
                      <a:pt x="1286" y="170"/>
                      <a:pt x="1286" y="170"/>
                    </a:cubicBezTo>
                    <a:cubicBezTo>
                      <a:pt x="1269" y="168"/>
                      <a:pt x="1269" y="168"/>
                      <a:pt x="1269" y="168"/>
                    </a:cubicBezTo>
                    <a:cubicBezTo>
                      <a:pt x="1282" y="182"/>
                      <a:pt x="1282" y="182"/>
                      <a:pt x="1282" y="182"/>
                    </a:cubicBezTo>
                    <a:lnTo>
                      <a:pt x="1287" y="185"/>
                    </a:lnTo>
                    <a:close/>
                    <a:moveTo>
                      <a:pt x="1088" y="75"/>
                    </a:moveTo>
                    <a:cubicBezTo>
                      <a:pt x="1094" y="82"/>
                      <a:pt x="1094" y="82"/>
                      <a:pt x="1094" y="82"/>
                    </a:cubicBezTo>
                    <a:cubicBezTo>
                      <a:pt x="1097" y="86"/>
                      <a:pt x="1097" y="86"/>
                      <a:pt x="1097" y="86"/>
                    </a:cubicBezTo>
                    <a:cubicBezTo>
                      <a:pt x="1095" y="89"/>
                      <a:pt x="1095" y="89"/>
                      <a:pt x="1095" y="89"/>
                    </a:cubicBezTo>
                    <a:cubicBezTo>
                      <a:pt x="1096" y="97"/>
                      <a:pt x="1096" y="97"/>
                      <a:pt x="1096" y="97"/>
                    </a:cubicBezTo>
                    <a:cubicBezTo>
                      <a:pt x="1094" y="98"/>
                      <a:pt x="1094" y="98"/>
                      <a:pt x="1094" y="98"/>
                    </a:cubicBezTo>
                    <a:cubicBezTo>
                      <a:pt x="1091" y="99"/>
                      <a:pt x="1091" y="99"/>
                      <a:pt x="1091" y="99"/>
                    </a:cubicBezTo>
                    <a:cubicBezTo>
                      <a:pt x="1083" y="108"/>
                      <a:pt x="1083" y="108"/>
                      <a:pt x="1083" y="108"/>
                    </a:cubicBezTo>
                    <a:cubicBezTo>
                      <a:pt x="1082" y="112"/>
                      <a:pt x="1082" y="112"/>
                      <a:pt x="1082" y="112"/>
                    </a:cubicBezTo>
                    <a:cubicBezTo>
                      <a:pt x="1087" y="116"/>
                      <a:pt x="1087" y="116"/>
                      <a:pt x="1087" y="116"/>
                    </a:cubicBezTo>
                    <a:cubicBezTo>
                      <a:pt x="1094" y="115"/>
                      <a:pt x="1094" y="115"/>
                      <a:pt x="1094" y="115"/>
                    </a:cubicBezTo>
                    <a:cubicBezTo>
                      <a:pt x="1096" y="115"/>
                      <a:pt x="1096" y="115"/>
                      <a:pt x="1096" y="115"/>
                    </a:cubicBezTo>
                    <a:cubicBezTo>
                      <a:pt x="1103" y="110"/>
                      <a:pt x="1103" y="110"/>
                      <a:pt x="1103" y="110"/>
                    </a:cubicBezTo>
                    <a:cubicBezTo>
                      <a:pt x="1108" y="113"/>
                      <a:pt x="1108" y="113"/>
                      <a:pt x="1108" y="113"/>
                    </a:cubicBezTo>
                    <a:cubicBezTo>
                      <a:pt x="1114" y="111"/>
                      <a:pt x="1114" y="111"/>
                      <a:pt x="1114" y="111"/>
                    </a:cubicBezTo>
                    <a:cubicBezTo>
                      <a:pt x="1119" y="115"/>
                      <a:pt x="1119" y="115"/>
                      <a:pt x="1119" y="115"/>
                    </a:cubicBezTo>
                    <a:cubicBezTo>
                      <a:pt x="1123" y="114"/>
                      <a:pt x="1123" y="114"/>
                      <a:pt x="1123" y="114"/>
                    </a:cubicBezTo>
                    <a:cubicBezTo>
                      <a:pt x="1128" y="118"/>
                      <a:pt x="1128" y="118"/>
                      <a:pt x="1128" y="118"/>
                    </a:cubicBezTo>
                    <a:cubicBezTo>
                      <a:pt x="1132" y="116"/>
                      <a:pt x="1132" y="116"/>
                      <a:pt x="1132" y="116"/>
                    </a:cubicBezTo>
                    <a:cubicBezTo>
                      <a:pt x="1133" y="109"/>
                      <a:pt x="1133" y="109"/>
                      <a:pt x="1133" y="109"/>
                    </a:cubicBezTo>
                    <a:cubicBezTo>
                      <a:pt x="1131" y="100"/>
                      <a:pt x="1131" y="100"/>
                      <a:pt x="1131" y="100"/>
                    </a:cubicBezTo>
                    <a:cubicBezTo>
                      <a:pt x="1120" y="92"/>
                      <a:pt x="1120" y="92"/>
                      <a:pt x="1120" y="92"/>
                    </a:cubicBezTo>
                    <a:cubicBezTo>
                      <a:pt x="1119" y="79"/>
                      <a:pt x="1119" y="79"/>
                      <a:pt x="1119" y="79"/>
                    </a:cubicBezTo>
                    <a:cubicBezTo>
                      <a:pt x="1106" y="74"/>
                      <a:pt x="1106" y="74"/>
                      <a:pt x="1106" y="74"/>
                    </a:cubicBezTo>
                    <a:cubicBezTo>
                      <a:pt x="1099" y="74"/>
                      <a:pt x="1099" y="74"/>
                      <a:pt x="1099" y="74"/>
                    </a:cubicBezTo>
                    <a:cubicBezTo>
                      <a:pt x="1094" y="70"/>
                      <a:pt x="1094" y="70"/>
                      <a:pt x="1094" y="70"/>
                    </a:cubicBezTo>
                    <a:cubicBezTo>
                      <a:pt x="1089" y="67"/>
                      <a:pt x="1089" y="67"/>
                      <a:pt x="1089" y="67"/>
                    </a:cubicBezTo>
                    <a:cubicBezTo>
                      <a:pt x="1072" y="62"/>
                      <a:pt x="1072" y="62"/>
                      <a:pt x="1072" y="62"/>
                    </a:cubicBezTo>
                    <a:cubicBezTo>
                      <a:pt x="1069" y="65"/>
                      <a:pt x="1069" y="65"/>
                      <a:pt x="1069" y="65"/>
                    </a:cubicBezTo>
                    <a:cubicBezTo>
                      <a:pt x="1072" y="69"/>
                      <a:pt x="1072" y="69"/>
                      <a:pt x="1072" y="69"/>
                    </a:cubicBezTo>
                    <a:lnTo>
                      <a:pt x="1088" y="75"/>
                    </a:lnTo>
                    <a:close/>
                    <a:moveTo>
                      <a:pt x="1419" y="274"/>
                    </a:moveTo>
                    <a:cubicBezTo>
                      <a:pt x="1419" y="279"/>
                      <a:pt x="1419" y="279"/>
                      <a:pt x="1419" y="279"/>
                    </a:cubicBezTo>
                    <a:cubicBezTo>
                      <a:pt x="1422" y="280"/>
                      <a:pt x="1422" y="280"/>
                      <a:pt x="1422" y="280"/>
                    </a:cubicBezTo>
                    <a:cubicBezTo>
                      <a:pt x="1429" y="271"/>
                      <a:pt x="1429" y="271"/>
                      <a:pt x="1429" y="271"/>
                    </a:cubicBezTo>
                    <a:cubicBezTo>
                      <a:pt x="1424" y="265"/>
                      <a:pt x="1424" y="265"/>
                      <a:pt x="1424" y="265"/>
                    </a:cubicBezTo>
                    <a:cubicBezTo>
                      <a:pt x="1423" y="258"/>
                      <a:pt x="1423" y="258"/>
                      <a:pt x="1423" y="258"/>
                    </a:cubicBezTo>
                    <a:cubicBezTo>
                      <a:pt x="1412" y="260"/>
                      <a:pt x="1412" y="260"/>
                      <a:pt x="1412" y="260"/>
                    </a:cubicBezTo>
                    <a:cubicBezTo>
                      <a:pt x="1410" y="264"/>
                      <a:pt x="1410" y="264"/>
                      <a:pt x="1410" y="264"/>
                    </a:cubicBezTo>
                    <a:cubicBezTo>
                      <a:pt x="1416" y="268"/>
                      <a:pt x="1416" y="268"/>
                      <a:pt x="1416" y="268"/>
                    </a:cubicBezTo>
                    <a:lnTo>
                      <a:pt x="1419" y="274"/>
                    </a:lnTo>
                    <a:close/>
                    <a:moveTo>
                      <a:pt x="1798" y="21"/>
                    </a:moveTo>
                    <a:cubicBezTo>
                      <a:pt x="1803" y="17"/>
                      <a:pt x="1803" y="17"/>
                      <a:pt x="1803" y="17"/>
                    </a:cubicBezTo>
                    <a:cubicBezTo>
                      <a:pt x="1788" y="9"/>
                      <a:pt x="1788" y="9"/>
                      <a:pt x="1788" y="9"/>
                    </a:cubicBezTo>
                    <a:cubicBezTo>
                      <a:pt x="1781" y="1"/>
                      <a:pt x="1781" y="1"/>
                      <a:pt x="1781" y="1"/>
                    </a:cubicBezTo>
                    <a:cubicBezTo>
                      <a:pt x="1776" y="0"/>
                      <a:pt x="1776" y="0"/>
                      <a:pt x="1776" y="0"/>
                    </a:cubicBezTo>
                    <a:cubicBezTo>
                      <a:pt x="1773" y="5"/>
                      <a:pt x="1773" y="5"/>
                      <a:pt x="1773" y="5"/>
                    </a:cubicBezTo>
                    <a:cubicBezTo>
                      <a:pt x="1784" y="17"/>
                      <a:pt x="1784" y="17"/>
                      <a:pt x="1784" y="17"/>
                    </a:cubicBezTo>
                    <a:lnTo>
                      <a:pt x="1798" y="21"/>
                    </a:lnTo>
                    <a:close/>
                    <a:moveTo>
                      <a:pt x="668" y="215"/>
                    </a:moveTo>
                    <a:cubicBezTo>
                      <a:pt x="685" y="226"/>
                      <a:pt x="685" y="226"/>
                      <a:pt x="685" y="226"/>
                    </a:cubicBezTo>
                    <a:cubicBezTo>
                      <a:pt x="704" y="231"/>
                      <a:pt x="704" y="231"/>
                      <a:pt x="704" y="231"/>
                    </a:cubicBezTo>
                    <a:cubicBezTo>
                      <a:pt x="719" y="228"/>
                      <a:pt x="719" y="228"/>
                      <a:pt x="719" y="228"/>
                    </a:cubicBezTo>
                    <a:cubicBezTo>
                      <a:pt x="721" y="225"/>
                      <a:pt x="721" y="225"/>
                      <a:pt x="721" y="225"/>
                    </a:cubicBezTo>
                    <a:cubicBezTo>
                      <a:pt x="713" y="208"/>
                      <a:pt x="713" y="208"/>
                      <a:pt x="713" y="208"/>
                    </a:cubicBezTo>
                    <a:cubicBezTo>
                      <a:pt x="715" y="197"/>
                      <a:pt x="715" y="197"/>
                      <a:pt x="715" y="197"/>
                    </a:cubicBezTo>
                    <a:cubicBezTo>
                      <a:pt x="709" y="188"/>
                      <a:pt x="709" y="188"/>
                      <a:pt x="709" y="188"/>
                    </a:cubicBezTo>
                    <a:cubicBezTo>
                      <a:pt x="706" y="177"/>
                      <a:pt x="706" y="177"/>
                      <a:pt x="706" y="177"/>
                    </a:cubicBezTo>
                    <a:cubicBezTo>
                      <a:pt x="698" y="166"/>
                      <a:pt x="698" y="166"/>
                      <a:pt x="698" y="166"/>
                    </a:cubicBezTo>
                    <a:cubicBezTo>
                      <a:pt x="696" y="153"/>
                      <a:pt x="696" y="153"/>
                      <a:pt x="696" y="153"/>
                    </a:cubicBezTo>
                    <a:cubicBezTo>
                      <a:pt x="683" y="142"/>
                      <a:pt x="683" y="142"/>
                      <a:pt x="683" y="142"/>
                    </a:cubicBezTo>
                    <a:cubicBezTo>
                      <a:pt x="681" y="130"/>
                      <a:pt x="681" y="130"/>
                      <a:pt x="681" y="130"/>
                    </a:cubicBezTo>
                    <a:cubicBezTo>
                      <a:pt x="678" y="127"/>
                      <a:pt x="678" y="127"/>
                      <a:pt x="678" y="127"/>
                    </a:cubicBezTo>
                    <a:cubicBezTo>
                      <a:pt x="673" y="128"/>
                      <a:pt x="673" y="128"/>
                      <a:pt x="673" y="128"/>
                    </a:cubicBezTo>
                    <a:cubicBezTo>
                      <a:pt x="660" y="155"/>
                      <a:pt x="660" y="155"/>
                      <a:pt x="660" y="155"/>
                    </a:cubicBezTo>
                    <a:cubicBezTo>
                      <a:pt x="653" y="160"/>
                      <a:pt x="653" y="160"/>
                      <a:pt x="653" y="160"/>
                    </a:cubicBezTo>
                    <a:cubicBezTo>
                      <a:pt x="656" y="170"/>
                      <a:pt x="656" y="170"/>
                      <a:pt x="656" y="170"/>
                    </a:cubicBezTo>
                    <a:cubicBezTo>
                      <a:pt x="654" y="174"/>
                      <a:pt x="654" y="174"/>
                      <a:pt x="654" y="174"/>
                    </a:cubicBezTo>
                    <a:cubicBezTo>
                      <a:pt x="649" y="178"/>
                      <a:pt x="649" y="178"/>
                      <a:pt x="649" y="178"/>
                    </a:cubicBezTo>
                    <a:cubicBezTo>
                      <a:pt x="648" y="181"/>
                      <a:pt x="648" y="181"/>
                      <a:pt x="648" y="181"/>
                    </a:cubicBezTo>
                    <a:cubicBezTo>
                      <a:pt x="647" y="184"/>
                      <a:pt x="647" y="184"/>
                      <a:pt x="647" y="184"/>
                    </a:cubicBezTo>
                    <a:cubicBezTo>
                      <a:pt x="660" y="208"/>
                      <a:pt x="660" y="208"/>
                      <a:pt x="660" y="208"/>
                    </a:cubicBezTo>
                    <a:lnTo>
                      <a:pt x="668" y="215"/>
                    </a:lnTo>
                    <a:close/>
                    <a:moveTo>
                      <a:pt x="887" y="177"/>
                    </a:moveTo>
                    <a:cubicBezTo>
                      <a:pt x="895" y="176"/>
                      <a:pt x="895" y="176"/>
                      <a:pt x="895" y="176"/>
                    </a:cubicBezTo>
                    <a:cubicBezTo>
                      <a:pt x="912" y="159"/>
                      <a:pt x="912" y="159"/>
                      <a:pt x="912" y="159"/>
                    </a:cubicBezTo>
                    <a:cubicBezTo>
                      <a:pt x="914" y="153"/>
                      <a:pt x="914" y="153"/>
                      <a:pt x="914" y="153"/>
                    </a:cubicBezTo>
                    <a:cubicBezTo>
                      <a:pt x="911" y="148"/>
                      <a:pt x="911" y="148"/>
                      <a:pt x="911" y="148"/>
                    </a:cubicBezTo>
                    <a:cubicBezTo>
                      <a:pt x="908" y="150"/>
                      <a:pt x="908" y="150"/>
                      <a:pt x="908" y="150"/>
                    </a:cubicBezTo>
                    <a:cubicBezTo>
                      <a:pt x="905" y="160"/>
                      <a:pt x="905" y="160"/>
                      <a:pt x="905" y="160"/>
                    </a:cubicBezTo>
                    <a:cubicBezTo>
                      <a:pt x="899" y="158"/>
                      <a:pt x="899" y="158"/>
                      <a:pt x="899" y="158"/>
                    </a:cubicBezTo>
                    <a:cubicBezTo>
                      <a:pt x="894" y="152"/>
                      <a:pt x="894" y="152"/>
                      <a:pt x="894" y="152"/>
                    </a:cubicBezTo>
                    <a:cubicBezTo>
                      <a:pt x="887" y="150"/>
                      <a:pt x="887" y="150"/>
                      <a:pt x="887" y="150"/>
                    </a:cubicBezTo>
                    <a:cubicBezTo>
                      <a:pt x="870" y="158"/>
                      <a:pt x="870" y="158"/>
                      <a:pt x="870" y="158"/>
                    </a:cubicBezTo>
                    <a:cubicBezTo>
                      <a:pt x="880" y="174"/>
                      <a:pt x="880" y="174"/>
                      <a:pt x="880" y="174"/>
                    </a:cubicBezTo>
                    <a:lnTo>
                      <a:pt x="887" y="177"/>
                    </a:lnTo>
                    <a:close/>
                    <a:moveTo>
                      <a:pt x="147" y="568"/>
                    </a:moveTo>
                    <a:cubicBezTo>
                      <a:pt x="158" y="579"/>
                      <a:pt x="158" y="579"/>
                      <a:pt x="158" y="579"/>
                    </a:cubicBezTo>
                    <a:cubicBezTo>
                      <a:pt x="163" y="590"/>
                      <a:pt x="163" y="590"/>
                      <a:pt x="163" y="590"/>
                    </a:cubicBezTo>
                    <a:cubicBezTo>
                      <a:pt x="178" y="594"/>
                      <a:pt x="178" y="594"/>
                      <a:pt x="178" y="594"/>
                    </a:cubicBezTo>
                    <a:cubicBezTo>
                      <a:pt x="186" y="593"/>
                      <a:pt x="186" y="593"/>
                      <a:pt x="186" y="593"/>
                    </a:cubicBezTo>
                    <a:cubicBezTo>
                      <a:pt x="191" y="581"/>
                      <a:pt x="191" y="581"/>
                      <a:pt x="191" y="581"/>
                    </a:cubicBezTo>
                    <a:cubicBezTo>
                      <a:pt x="186" y="568"/>
                      <a:pt x="186" y="568"/>
                      <a:pt x="186" y="568"/>
                    </a:cubicBezTo>
                    <a:cubicBezTo>
                      <a:pt x="189" y="562"/>
                      <a:pt x="189" y="562"/>
                      <a:pt x="189" y="562"/>
                    </a:cubicBezTo>
                    <a:cubicBezTo>
                      <a:pt x="185" y="557"/>
                      <a:pt x="185" y="557"/>
                      <a:pt x="185" y="557"/>
                    </a:cubicBezTo>
                    <a:cubicBezTo>
                      <a:pt x="168" y="548"/>
                      <a:pt x="168" y="548"/>
                      <a:pt x="168" y="548"/>
                    </a:cubicBezTo>
                    <a:cubicBezTo>
                      <a:pt x="159" y="538"/>
                      <a:pt x="159" y="538"/>
                      <a:pt x="159" y="538"/>
                    </a:cubicBezTo>
                    <a:cubicBezTo>
                      <a:pt x="162" y="535"/>
                      <a:pt x="162" y="535"/>
                      <a:pt x="162" y="535"/>
                    </a:cubicBezTo>
                    <a:cubicBezTo>
                      <a:pt x="168" y="537"/>
                      <a:pt x="168" y="537"/>
                      <a:pt x="168" y="537"/>
                    </a:cubicBezTo>
                    <a:cubicBezTo>
                      <a:pt x="169" y="531"/>
                      <a:pt x="169" y="531"/>
                      <a:pt x="169" y="531"/>
                    </a:cubicBezTo>
                    <a:cubicBezTo>
                      <a:pt x="154" y="521"/>
                      <a:pt x="154" y="521"/>
                      <a:pt x="154" y="521"/>
                    </a:cubicBezTo>
                    <a:cubicBezTo>
                      <a:pt x="135" y="528"/>
                      <a:pt x="135" y="528"/>
                      <a:pt x="135" y="528"/>
                    </a:cubicBezTo>
                    <a:cubicBezTo>
                      <a:pt x="127" y="528"/>
                      <a:pt x="127" y="528"/>
                      <a:pt x="127" y="528"/>
                    </a:cubicBezTo>
                    <a:cubicBezTo>
                      <a:pt x="122" y="523"/>
                      <a:pt x="122" y="523"/>
                      <a:pt x="122" y="523"/>
                    </a:cubicBezTo>
                    <a:cubicBezTo>
                      <a:pt x="117" y="523"/>
                      <a:pt x="117" y="523"/>
                      <a:pt x="117" y="523"/>
                    </a:cubicBezTo>
                    <a:cubicBezTo>
                      <a:pt x="116" y="528"/>
                      <a:pt x="116" y="528"/>
                      <a:pt x="116" y="528"/>
                    </a:cubicBezTo>
                    <a:cubicBezTo>
                      <a:pt x="146" y="567"/>
                      <a:pt x="146" y="567"/>
                      <a:pt x="146" y="567"/>
                    </a:cubicBezTo>
                    <a:lnTo>
                      <a:pt x="147" y="568"/>
                    </a:lnTo>
                    <a:close/>
                    <a:moveTo>
                      <a:pt x="1908" y="633"/>
                    </a:moveTo>
                    <a:cubicBezTo>
                      <a:pt x="1899" y="627"/>
                      <a:pt x="1909" y="620"/>
                      <a:pt x="1904" y="610"/>
                    </a:cubicBezTo>
                    <a:cubicBezTo>
                      <a:pt x="1901" y="604"/>
                      <a:pt x="1891" y="587"/>
                      <a:pt x="1900" y="578"/>
                    </a:cubicBezTo>
                    <a:cubicBezTo>
                      <a:pt x="1891" y="568"/>
                      <a:pt x="1899" y="552"/>
                      <a:pt x="1892" y="544"/>
                    </a:cubicBezTo>
                    <a:cubicBezTo>
                      <a:pt x="1890" y="532"/>
                      <a:pt x="1898" y="521"/>
                      <a:pt x="1889" y="511"/>
                    </a:cubicBezTo>
                    <a:cubicBezTo>
                      <a:pt x="1891" y="503"/>
                      <a:pt x="1885" y="493"/>
                      <a:pt x="1882" y="488"/>
                    </a:cubicBezTo>
                    <a:cubicBezTo>
                      <a:pt x="1879" y="478"/>
                      <a:pt x="1864" y="466"/>
                      <a:pt x="1861" y="459"/>
                    </a:cubicBezTo>
                    <a:cubicBezTo>
                      <a:pt x="1864" y="446"/>
                      <a:pt x="1848" y="440"/>
                      <a:pt x="1853" y="431"/>
                    </a:cubicBezTo>
                    <a:cubicBezTo>
                      <a:pt x="1854" y="428"/>
                      <a:pt x="1847" y="416"/>
                      <a:pt x="1859" y="407"/>
                    </a:cubicBezTo>
                    <a:cubicBezTo>
                      <a:pt x="1864" y="398"/>
                      <a:pt x="1854" y="383"/>
                      <a:pt x="1847" y="388"/>
                    </a:cubicBezTo>
                    <a:cubicBezTo>
                      <a:pt x="1852" y="367"/>
                      <a:pt x="1827" y="381"/>
                      <a:pt x="1823" y="373"/>
                    </a:cubicBezTo>
                    <a:cubicBezTo>
                      <a:pt x="1809" y="373"/>
                      <a:pt x="1817" y="345"/>
                      <a:pt x="1811" y="333"/>
                    </a:cubicBezTo>
                    <a:cubicBezTo>
                      <a:pt x="1809" y="316"/>
                      <a:pt x="1809" y="295"/>
                      <a:pt x="1803" y="280"/>
                    </a:cubicBezTo>
                    <a:cubicBezTo>
                      <a:pt x="1803" y="269"/>
                      <a:pt x="1798" y="267"/>
                      <a:pt x="1792" y="255"/>
                    </a:cubicBezTo>
                    <a:cubicBezTo>
                      <a:pt x="1794" y="246"/>
                      <a:pt x="1780" y="249"/>
                      <a:pt x="1777" y="245"/>
                    </a:cubicBezTo>
                    <a:cubicBezTo>
                      <a:pt x="1783" y="238"/>
                      <a:pt x="1778" y="227"/>
                      <a:pt x="1773" y="227"/>
                    </a:cubicBezTo>
                    <a:cubicBezTo>
                      <a:pt x="1772" y="221"/>
                      <a:pt x="1781" y="214"/>
                      <a:pt x="1792" y="214"/>
                    </a:cubicBezTo>
                    <a:cubicBezTo>
                      <a:pt x="1799" y="212"/>
                      <a:pt x="1810" y="211"/>
                      <a:pt x="1811" y="200"/>
                    </a:cubicBezTo>
                    <a:cubicBezTo>
                      <a:pt x="1812" y="195"/>
                      <a:pt x="1810" y="192"/>
                      <a:pt x="1808" y="190"/>
                    </a:cubicBezTo>
                    <a:cubicBezTo>
                      <a:pt x="1808" y="190"/>
                      <a:pt x="1808" y="190"/>
                      <a:pt x="1808" y="190"/>
                    </a:cubicBezTo>
                    <a:cubicBezTo>
                      <a:pt x="1796" y="190"/>
                      <a:pt x="1796" y="190"/>
                      <a:pt x="1796" y="190"/>
                    </a:cubicBezTo>
                    <a:cubicBezTo>
                      <a:pt x="1792" y="183"/>
                      <a:pt x="1792" y="183"/>
                      <a:pt x="1792" y="183"/>
                    </a:cubicBezTo>
                    <a:cubicBezTo>
                      <a:pt x="1782" y="182"/>
                      <a:pt x="1782" y="182"/>
                      <a:pt x="1782" y="182"/>
                    </a:cubicBezTo>
                    <a:cubicBezTo>
                      <a:pt x="1778" y="182"/>
                      <a:pt x="1778" y="182"/>
                      <a:pt x="1778" y="182"/>
                    </a:cubicBezTo>
                    <a:cubicBezTo>
                      <a:pt x="1774" y="179"/>
                      <a:pt x="1774" y="179"/>
                      <a:pt x="1774" y="179"/>
                    </a:cubicBezTo>
                    <a:cubicBezTo>
                      <a:pt x="1771" y="177"/>
                      <a:pt x="1771" y="177"/>
                      <a:pt x="1771" y="177"/>
                    </a:cubicBezTo>
                    <a:cubicBezTo>
                      <a:pt x="1767" y="169"/>
                      <a:pt x="1767" y="169"/>
                      <a:pt x="1767" y="169"/>
                    </a:cubicBezTo>
                    <a:cubicBezTo>
                      <a:pt x="1772" y="148"/>
                      <a:pt x="1772" y="148"/>
                      <a:pt x="1772" y="148"/>
                    </a:cubicBezTo>
                    <a:cubicBezTo>
                      <a:pt x="1764" y="126"/>
                      <a:pt x="1764" y="126"/>
                      <a:pt x="1764" y="126"/>
                    </a:cubicBezTo>
                    <a:cubicBezTo>
                      <a:pt x="1767" y="112"/>
                      <a:pt x="1767" y="112"/>
                      <a:pt x="1767" y="112"/>
                    </a:cubicBezTo>
                    <a:cubicBezTo>
                      <a:pt x="1771" y="108"/>
                      <a:pt x="1771" y="108"/>
                      <a:pt x="1771" y="108"/>
                    </a:cubicBezTo>
                    <a:cubicBezTo>
                      <a:pt x="1771" y="101"/>
                      <a:pt x="1771" y="101"/>
                      <a:pt x="1771" y="101"/>
                    </a:cubicBezTo>
                    <a:cubicBezTo>
                      <a:pt x="1756" y="89"/>
                      <a:pt x="1756" y="89"/>
                      <a:pt x="1756" y="89"/>
                    </a:cubicBezTo>
                    <a:cubicBezTo>
                      <a:pt x="1753" y="84"/>
                      <a:pt x="1753" y="84"/>
                      <a:pt x="1753" y="84"/>
                    </a:cubicBezTo>
                    <a:cubicBezTo>
                      <a:pt x="1756" y="71"/>
                      <a:pt x="1756" y="71"/>
                      <a:pt x="1756" y="71"/>
                    </a:cubicBezTo>
                    <a:cubicBezTo>
                      <a:pt x="1735" y="47"/>
                      <a:pt x="1735" y="47"/>
                      <a:pt x="1735" y="47"/>
                    </a:cubicBezTo>
                    <a:cubicBezTo>
                      <a:pt x="1729" y="43"/>
                      <a:pt x="1729" y="43"/>
                      <a:pt x="1729" y="43"/>
                    </a:cubicBezTo>
                    <a:cubicBezTo>
                      <a:pt x="1726" y="44"/>
                      <a:pt x="1726" y="44"/>
                      <a:pt x="1726" y="44"/>
                    </a:cubicBezTo>
                    <a:cubicBezTo>
                      <a:pt x="1720" y="52"/>
                      <a:pt x="1720" y="52"/>
                      <a:pt x="1720" y="52"/>
                    </a:cubicBezTo>
                    <a:cubicBezTo>
                      <a:pt x="1711" y="45"/>
                      <a:pt x="1711" y="45"/>
                      <a:pt x="1711" y="45"/>
                    </a:cubicBezTo>
                    <a:cubicBezTo>
                      <a:pt x="1706" y="38"/>
                      <a:pt x="1706" y="38"/>
                      <a:pt x="1706" y="38"/>
                    </a:cubicBezTo>
                    <a:cubicBezTo>
                      <a:pt x="1708" y="33"/>
                      <a:pt x="1708" y="33"/>
                      <a:pt x="1708" y="33"/>
                    </a:cubicBezTo>
                    <a:cubicBezTo>
                      <a:pt x="1711" y="25"/>
                      <a:pt x="1711" y="25"/>
                      <a:pt x="1711" y="25"/>
                    </a:cubicBezTo>
                    <a:cubicBezTo>
                      <a:pt x="1702" y="27"/>
                      <a:pt x="1702" y="27"/>
                      <a:pt x="1702" y="27"/>
                    </a:cubicBezTo>
                    <a:cubicBezTo>
                      <a:pt x="1695" y="19"/>
                      <a:pt x="1695" y="19"/>
                      <a:pt x="1695" y="19"/>
                    </a:cubicBezTo>
                    <a:cubicBezTo>
                      <a:pt x="1692" y="20"/>
                      <a:pt x="1692" y="20"/>
                      <a:pt x="1692" y="20"/>
                    </a:cubicBezTo>
                    <a:cubicBezTo>
                      <a:pt x="1689" y="34"/>
                      <a:pt x="1689" y="34"/>
                      <a:pt x="1689" y="34"/>
                    </a:cubicBezTo>
                    <a:cubicBezTo>
                      <a:pt x="1684" y="40"/>
                      <a:pt x="1684" y="40"/>
                      <a:pt x="1684" y="40"/>
                    </a:cubicBezTo>
                    <a:cubicBezTo>
                      <a:pt x="1676" y="43"/>
                      <a:pt x="1676" y="43"/>
                      <a:pt x="1676" y="43"/>
                    </a:cubicBezTo>
                    <a:cubicBezTo>
                      <a:pt x="1673" y="50"/>
                      <a:pt x="1673" y="50"/>
                      <a:pt x="1673" y="50"/>
                    </a:cubicBezTo>
                    <a:cubicBezTo>
                      <a:pt x="1689" y="66"/>
                      <a:pt x="1689" y="66"/>
                      <a:pt x="1689" y="66"/>
                    </a:cubicBezTo>
                    <a:cubicBezTo>
                      <a:pt x="1688" y="72"/>
                      <a:pt x="1688" y="72"/>
                      <a:pt x="1688" y="72"/>
                    </a:cubicBezTo>
                    <a:cubicBezTo>
                      <a:pt x="1683" y="77"/>
                      <a:pt x="1683" y="77"/>
                      <a:pt x="1683" y="77"/>
                    </a:cubicBezTo>
                    <a:cubicBezTo>
                      <a:pt x="1683" y="81"/>
                      <a:pt x="1683" y="81"/>
                      <a:pt x="1683" y="81"/>
                    </a:cubicBezTo>
                    <a:cubicBezTo>
                      <a:pt x="1687" y="111"/>
                      <a:pt x="1687" y="111"/>
                      <a:pt x="1687" y="111"/>
                    </a:cubicBezTo>
                    <a:cubicBezTo>
                      <a:pt x="1691" y="116"/>
                      <a:pt x="1691" y="116"/>
                      <a:pt x="1691" y="116"/>
                    </a:cubicBezTo>
                    <a:cubicBezTo>
                      <a:pt x="1700" y="117"/>
                      <a:pt x="1700" y="117"/>
                      <a:pt x="1700" y="117"/>
                    </a:cubicBezTo>
                    <a:cubicBezTo>
                      <a:pt x="1706" y="123"/>
                      <a:pt x="1706" y="123"/>
                      <a:pt x="1706" y="123"/>
                    </a:cubicBezTo>
                    <a:cubicBezTo>
                      <a:pt x="1711" y="133"/>
                      <a:pt x="1711" y="133"/>
                      <a:pt x="1711" y="133"/>
                    </a:cubicBezTo>
                    <a:cubicBezTo>
                      <a:pt x="1706" y="146"/>
                      <a:pt x="1706" y="146"/>
                      <a:pt x="1706" y="146"/>
                    </a:cubicBezTo>
                    <a:cubicBezTo>
                      <a:pt x="1707" y="157"/>
                      <a:pt x="1707" y="157"/>
                      <a:pt x="1707" y="157"/>
                    </a:cubicBezTo>
                    <a:cubicBezTo>
                      <a:pt x="1702" y="172"/>
                      <a:pt x="1702" y="172"/>
                      <a:pt x="1702" y="172"/>
                    </a:cubicBezTo>
                    <a:cubicBezTo>
                      <a:pt x="1693" y="180"/>
                      <a:pt x="1693" y="180"/>
                      <a:pt x="1693" y="180"/>
                    </a:cubicBezTo>
                    <a:cubicBezTo>
                      <a:pt x="1681" y="186"/>
                      <a:pt x="1681" y="186"/>
                      <a:pt x="1681" y="186"/>
                    </a:cubicBezTo>
                    <a:cubicBezTo>
                      <a:pt x="1680" y="186"/>
                      <a:pt x="1680" y="186"/>
                      <a:pt x="1680" y="186"/>
                    </a:cubicBezTo>
                    <a:cubicBezTo>
                      <a:pt x="1677" y="186"/>
                      <a:pt x="1677" y="186"/>
                      <a:pt x="1677" y="186"/>
                    </a:cubicBezTo>
                    <a:cubicBezTo>
                      <a:pt x="1669" y="187"/>
                      <a:pt x="1669" y="187"/>
                      <a:pt x="1669" y="187"/>
                    </a:cubicBezTo>
                    <a:cubicBezTo>
                      <a:pt x="1656" y="181"/>
                      <a:pt x="1656" y="181"/>
                      <a:pt x="1656" y="181"/>
                    </a:cubicBezTo>
                    <a:cubicBezTo>
                      <a:pt x="1636" y="164"/>
                      <a:pt x="1636" y="164"/>
                      <a:pt x="1636" y="164"/>
                    </a:cubicBezTo>
                    <a:cubicBezTo>
                      <a:pt x="1629" y="166"/>
                      <a:pt x="1629" y="166"/>
                      <a:pt x="1629" y="166"/>
                    </a:cubicBezTo>
                    <a:cubicBezTo>
                      <a:pt x="1622" y="156"/>
                      <a:pt x="1622" y="156"/>
                      <a:pt x="1622" y="156"/>
                    </a:cubicBezTo>
                    <a:cubicBezTo>
                      <a:pt x="1625" y="148"/>
                      <a:pt x="1625" y="148"/>
                      <a:pt x="1625" y="148"/>
                    </a:cubicBezTo>
                    <a:cubicBezTo>
                      <a:pt x="1621" y="142"/>
                      <a:pt x="1621" y="142"/>
                      <a:pt x="1621" y="142"/>
                    </a:cubicBezTo>
                    <a:cubicBezTo>
                      <a:pt x="1621" y="136"/>
                      <a:pt x="1621" y="136"/>
                      <a:pt x="1621" y="136"/>
                    </a:cubicBezTo>
                    <a:cubicBezTo>
                      <a:pt x="1616" y="134"/>
                      <a:pt x="1616" y="134"/>
                      <a:pt x="1616" y="134"/>
                    </a:cubicBezTo>
                    <a:cubicBezTo>
                      <a:pt x="1606" y="137"/>
                      <a:pt x="1606" y="137"/>
                      <a:pt x="1606" y="137"/>
                    </a:cubicBezTo>
                    <a:cubicBezTo>
                      <a:pt x="1599" y="134"/>
                      <a:pt x="1599" y="134"/>
                      <a:pt x="1599" y="134"/>
                    </a:cubicBezTo>
                    <a:cubicBezTo>
                      <a:pt x="1594" y="131"/>
                      <a:pt x="1594" y="131"/>
                      <a:pt x="1594" y="131"/>
                    </a:cubicBezTo>
                    <a:cubicBezTo>
                      <a:pt x="1591" y="125"/>
                      <a:pt x="1591" y="125"/>
                      <a:pt x="1591" y="125"/>
                    </a:cubicBezTo>
                    <a:cubicBezTo>
                      <a:pt x="1590" y="124"/>
                      <a:pt x="1590" y="124"/>
                      <a:pt x="1590" y="124"/>
                    </a:cubicBezTo>
                    <a:cubicBezTo>
                      <a:pt x="1591" y="114"/>
                      <a:pt x="1591" y="114"/>
                      <a:pt x="1591" y="114"/>
                    </a:cubicBezTo>
                    <a:cubicBezTo>
                      <a:pt x="1587" y="111"/>
                      <a:pt x="1587" y="111"/>
                      <a:pt x="1587" y="111"/>
                    </a:cubicBezTo>
                    <a:cubicBezTo>
                      <a:pt x="1579" y="117"/>
                      <a:pt x="1579" y="117"/>
                      <a:pt x="1579" y="117"/>
                    </a:cubicBezTo>
                    <a:cubicBezTo>
                      <a:pt x="1573" y="117"/>
                      <a:pt x="1573" y="117"/>
                      <a:pt x="1573" y="117"/>
                    </a:cubicBezTo>
                    <a:cubicBezTo>
                      <a:pt x="1567" y="117"/>
                      <a:pt x="1567" y="117"/>
                      <a:pt x="1567" y="117"/>
                    </a:cubicBezTo>
                    <a:cubicBezTo>
                      <a:pt x="1554" y="112"/>
                      <a:pt x="1554" y="112"/>
                      <a:pt x="1554" y="112"/>
                    </a:cubicBezTo>
                    <a:cubicBezTo>
                      <a:pt x="1544" y="99"/>
                      <a:pt x="1544" y="99"/>
                      <a:pt x="1544" y="99"/>
                    </a:cubicBezTo>
                    <a:cubicBezTo>
                      <a:pt x="1548" y="85"/>
                      <a:pt x="1548" y="85"/>
                      <a:pt x="1548" y="85"/>
                    </a:cubicBezTo>
                    <a:cubicBezTo>
                      <a:pt x="1542" y="75"/>
                      <a:pt x="1542" y="75"/>
                      <a:pt x="1542" y="75"/>
                    </a:cubicBezTo>
                    <a:cubicBezTo>
                      <a:pt x="1548" y="65"/>
                      <a:pt x="1548" y="65"/>
                      <a:pt x="1548" y="65"/>
                    </a:cubicBezTo>
                    <a:cubicBezTo>
                      <a:pt x="1543" y="63"/>
                      <a:pt x="1543" y="63"/>
                      <a:pt x="1543" y="63"/>
                    </a:cubicBezTo>
                    <a:cubicBezTo>
                      <a:pt x="1528" y="63"/>
                      <a:pt x="1528" y="63"/>
                      <a:pt x="1528" y="63"/>
                    </a:cubicBezTo>
                    <a:cubicBezTo>
                      <a:pt x="1527" y="76"/>
                      <a:pt x="1527" y="76"/>
                      <a:pt x="1527" y="76"/>
                    </a:cubicBezTo>
                    <a:cubicBezTo>
                      <a:pt x="1523" y="79"/>
                      <a:pt x="1523" y="79"/>
                      <a:pt x="1523" y="79"/>
                    </a:cubicBezTo>
                    <a:cubicBezTo>
                      <a:pt x="1520" y="121"/>
                      <a:pt x="1520" y="121"/>
                      <a:pt x="1520" y="121"/>
                    </a:cubicBezTo>
                    <a:cubicBezTo>
                      <a:pt x="1528" y="134"/>
                      <a:pt x="1528" y="134"/>
                      <a:pt x="1528" y="134"/>
                    </a:cubicBezTo>
                    <a:cubicBezTo>
                      <a:pt x="1535" y="154"/>
                      <a:pt x="1535" y="154"/>
                      <a:pt x="1535" y="154"/>
                    </a:cubicBezTo>
                    <a:cubicBezTo>
                      <a:pt x="1540" y="162"/>
                      <a:pt x="1540" y="162"/>
                      <a:pt x="1540" y="162"/>
                    </a:cubicBezTo>
                    <a:cubicBezTo>
                      <a:pt x="1547" y="171"/>
                      <a:pt x="1547" y="171"/>
                      <a:pt x="1547" y="171"/>
                    </a:cubicBezTo>
                    <a:cubicBezTo>
                      <a:pt x="1548" y="187"/>
                      <a:pt x="1548" y="187"/>
                      <a:pt x="1548" y="187"/>
                    </a:cubicBezTo>
                    <a:cubicBezTo>
                      <a:pt x="1557" y="201"/>
                      <a:pt x="1557" y="201"/>
                      <a:pt x="1557" y="201"/>
                    </a:cubicBezTo>
                    <a:cubicBezTo>
                      <a:pt x="1567" y="209"/>
                      <a:pt x="1567" y="209"/>
                      <a:pt x="1567" y="209"/>
                    </a:cubicBezTo>
                    <a:cubicBezTo>
                      <a:pt x="1572" y="217"/>
                      <a:pt x="1572" y="217"/>
                      <a:pt x="1572" y="217"/>
                    </a:cubicBezTo>
                    <a:cubicBezTo>
                      <a:pt x="1574" y="230"/>
                      <a:pt x="1574" y="230"/>
                      <a:pt x="1574" y="230"/>
                    </a:cubicBezTo>
                    <a:cubicBezTo>
                      <a:pt x="1560" y="257"/>
                      <a:pt x="1560" y="257"/>
                      <a:pt x="1560" y="257"/>
                    </a:cubicBezTo>
                    <a:cubicBezTo>
                      <a:pt x="1551" y="259"/>
                      <a:pt x="1551" y="259"/>
                      <a:pt x="1551" y="259"/>
                    </a:cubicBezTo>
                    <a:cubicBezTo>
                      <a:pt x="1501" y="259"/>
                      <a:pt x="1501" y="259"/>
                      <a:pt x="1501" y="259"/>
                    </a:cubicBezTo>
                    <a:cubicBezTo>
                      <a:pt x="1495" y="263"/>
                      <a:pt x="1495" y="263"/>
                      <a:pt x="1495" y="263"/>
                    </a:cubicBezTo>
                    <a:cubicBezTo>
                      <a:pt x="1492" y="272"/>
                      <a:pt x="1492" y="272"/>
                      <a:pt x="1492" y="272"/>
                    </a:cubicBezTo>
                    <a:cubicBezTo>
                      <a:pt x="1494" y="285"/>
                      <a:pt x="1494" y="285"/>
                      <a:pt x="1494" y="285"/>
                    </a:cubicBezTo>
                    <a:cubicBezTo>
                      <a:pt x="1492" y="288"/>
                      <a:pt x="1492" y="288"/>
                      <a:pt x="1492" y="288"/>
                    </a:cubicBezTo>
                    <a:cubicBezTo>
                      <a:pt x="1490" y="291"/>
                      <a:pt x="1490" y="291"/>
                      <a:pt x="1490" y="291"/>
                    </a:cubicBezTo>
                    <a:cubicBezTo>
                      <a:pt x="1484" y="297"/>
                      <a:pt x="1484" y="297"/>
                      <a:pt x="1484" y="297"/>
                    </a:cubicBezTo>
                    <a:cubicBezTo>
                      <a:pt x="1470" y="305"/>
                      <a:pt x="1470" y="305"/>
                      <a:pt x="1470" y="305"/>
                    </a:cubicBezTo>
                    <a:cubicBezTo>
                      <a:pt x="1460" y="306"/>
                      <a:pt x="1460" y="306"/>
                      <a:pt x="1460" y="306"/>
                    </a:cubicBezTo>
                    <a:cubicBezTo>
                      <a:pt x="1454" y="304"/>
                      <a:pt x="1454" y="304"/>
                      <a:pt x="1454" y="304"/>
                    </a:cubicBezTo>
                    <a:cubicBezTo>
                      <a:pt x="1450" y="305"/>
                      <a:pt x="1450" y="305"/>
                      <a:pt x="1450" y="305"/>
                    </a:cubicBezTo>
                    <a:cubicBezTo>
                      <a:pt x="1448" y="310"/>
                      <a:pt x="1448" y="310"/>
                      <a:pt x="1448" y="310"/>
                    </a:cubicBezTo>
                    <a:cubicBezTo>
                      <a:pt x="1436" y="308"/>
                      <a:pt x="1436" y="308"/>
                      <a:pt x="1436" y="308"/>
                    </a:cubicBezTo>
                    <a:cubicBezTo>
                      <a:pt x="1416" y="298"/>
                      <a:pt x="1416" y="298"/>
                      <a:pt x="1416" y="298"/>
                    </a:cubicBezTo>
                    <a:cubicBezTo>
                      <a:pt x="1393" y="300"/>
                      <a:pt x="1393" y="300"/>
                      <a:pt x="1393" y="300"/>
                    </a:cubicBezTo>
                    <a:cubicBezTo>
                      <a:pt x="1380" y="296"/>
                      <a:pt x="1380" y="296"/>
                      <a:pt x="1380" y="296"/>
                    </a:cubicBezTo>
                    <a:cubicBezTo>
                      <a:pt x="1338" y="273"/>
                      <a:pt x="1338" y="273"/>
                      <a:pt x="1338" y="273"/>
                    </a:cubicBezTo>
                    <a:cubicBezTo>
                      <a:pt x="1336" y="267"/>
                      <a:pt x="1336" y="267"/>
                      <a:pt x="1336" y="267"/>
                    </a:cubicBezTo>
                    <a:cubicBezTo>
                      <a:pt x="1339" y="254"/>
                      <a:pt x="1339" y="254"/>
                      <a:pt x="1339" y="254"/>
                    </a:cubicBezTo>
                    <a:cubicBezTo>
                      <a:pt x="1334" y="243"/>
                      <a:pt x="1334" y="243"/>
                      <a:pt x="1334" y="243"/>
                    </a:cubicBezTo>
                    <a:cubicBezTo>
                      <a:pt x="1331" y="248"/>
                      <a:pt x="1331" y="248"/>
                      <a:pt x="1331" y="248"/>
                    </a:cubicBezTo>
                    <a:cubicBezTo>
                      <a:pt x="1324" y="260"/>
                      <a:pt x="1324" y="260"/>
                      <a:pt x="1324" y="260"/>
                    </a:cubicBezTo>
                    <a:cubicBezTo>
                      <a:pt x="1304" y="276"/>
                      <a:pt x="1304" y="276"/>
                      <a:pt x="1304" y="276"/>
                    </a:cubicBezTo>
                    <a:cubicBezTo>
                      <a:pt x="1290" y="284"/>
                      <a:pt x="1290" y="284"/>
                      <a:pt x="1290" y="284"/>
                    </a:cubicBezTo>
                    <a:cubicBezTo>
                      <a:pt x="1284" y="285"/>
                      <a:pt x="1284" y="285"/>
                      <a:pt x="1284" y="285"/>
                    </a:cubicBezTo>
                    <a:cubicBezTo>
                      <a:pt x="1274" y="281"/>
                      <a:pt x="1274" y="281"/>
                      <a:pt x="1274" y="281"/>
                    </a:cubicBezTo>
                    <a:cubicBezTo>
                      <a:pt x="1269" y="277"/>
                      <a:pt x="1269" y="277"/>
                      <a:pt x="1269" y="277"/>
                    </a:cubicBezTo>
                    <a:cubicBezTo>
                      <a:pt x="1268" y="263"/>
                      <a:pt x="1268" y="263"/>
                      <a:pt x="1268" y="263"/>
                    </a:cubicBezTo>
                    <a:cubicBezTo>
                      <a:pt x="1263" y="254"/>
                      <a:pt x="1263" y="254"/>
                      <a:pt x="1263" y="254"/>
                    </a:cubicBezTo>
                    <a:cubicBezTo>
                      <a:pt x="1254" y="248"/>
                      <a:pt x="1254" y="248"/>
                      <a:pt x="1254" y="248"/>
                    </a:cubicBezTo>
                    <a:cubicBezTo>
                      <a:pt x="1244" y="245"/>
                      <a:pt x="1244" y="245"/>
                      <a:pt x="1244" y="245"/>
                    </a:cubicBezTo>
                    <a:cubicBezTo>
                      <a:pt x="1229" y="225"/>
                      <a:pt x="1229" y="225"/>
                      <a:pt x="1229" y="225"/>
                    </a:cubicBezTo>
                    <a:cubicBezTo>
                      <a:pt x="1221" y="222"/>
                      <a:pt x="1221" y="222"/>
                      <a:pt x="1221" y="222"/>
                    </a:cubicBezTo>
                    <a:cubicBezTo>
                      <a:pt x="1220" y="225"/>
                      <a:pt x="1220" y="225"/>
                      <a:pt x="1220" y="225"/>
                    </a:cubicBezTo>
                    <a:cubicBezTo>
                      <a:pt x="1223" y="231"/>
                      <a:pt x="1223" y="231"/>
                      <a:pt x="1223" y="231"/>
                    </a:cubicBezTo>
                    <a:cubicBezTo>
                      <a:pt x="1225" y="243"/>
                      <a:pt x="1225" y="243"/>
                      <a:pt x="1225" y="243"/>
                    </a:cubicBezTo>
                    <a:cubicBezTo>
                      <a:pt x="1222" y="251"/>
                      <a:pt x="1222" y="251"/>
                      <a:pt x="1222" y="251"/>
                    </a:cubicBezTo>
                    <a:cubicBezTo>
                      <a:pt x="1230" y="262"/>
                      <a:pt x="1230" y="262"/>
                      <a:pt x="1230" y="262"/>
                    </a:cubicBezTo>
                    <a:cubicBezTo>
                      <a:pt x="1236" y="272"/>
                      <a:pt x="1236" y="272"/>
                      <a:pt x="1236" y="272"/>
                    </a:cubicBezTo>
                    <a:cubicBezTo>
                      <a:pt x="1244" y="275"/>
                      <a:pt x="1244" y="275"/>
                      <a:pt x="1244" y="275"/>
                    </a:cubicBezTo>
                    <a:cubicBezTo>
                      <a:pt x="1250" y="285"/>
                      <a:pt x="1250" y="285"/>
                      <a:pt x="1250" y="285"/>
                    </a:cubicBezTo>
                    <a:cubicBezTo>
                      <a:pt x="1246" y="299"/>
                      <a:pt x="1246" y="299"/>
                      <a:pt x="1246" y="299"/>
                    </a:cubicBezTo>
                    <a:cubicBezTo>
                      <a:pt x="1231" y="314"/>
                      <a:pt x="1231" y="314"/>
                      <a:pt x="1231" y="314"/>
                    </a:cubicBezTo>
                    <a:cubicBezTo>
                      <a:pt x="1229" y="326"/>
                      <a:pt x="1229" y="326"/>
                      <a:pt x="1229" y="326"/>
                    </a:cubicBezTo>
                    <a:cubicBezTo>
                      <a:pt x="1219" y="324"/>
                      <a:pt x="1219" y="324"/>
                      <a:pt x="1219" y="324"/>
                    </a:cubicBezTo>
                    <a:cubicBezTo>
                      <a:pt x="1206" y="317"/>
                      <a:pt x="1206" y="317"/>
                      <a:pt x="1206" y="317"/>
                    </a:cubicBezTo>
                    <a:cubicBezTo>
                      <a:pt x="1198" y="307"/>
                      <a:pt x="1198" y="307"/>
                      <a:pt x="1198" y="307"/>
                    </a:cubicBezTo>
                    <a:cubicBezTo>
                      <a:pt x="1191" y="307"/>
                      <a:pt x="1191" y="307"/>
                      <a:pt x="1191" y="307"/>
                    </a:cubicBezTo>
                    <a:cubicBezTo>
                      <a:pt x="1174" y="285"/>
                      <a:pt x="1174" y="285"/>
                      <a:pt x="1174" y="285"/>
                    </a:cubicBezTo>
                    <a:cubicBezTo>
                      <a:pt x="1173" y="279"/>
                      <a:pt x="1173" y="279"/>
                      <a:pt x="1173" y="279"/>
                    </a:cubicBezTo>
                    <a:cubicBezTo>
                      <a:pt x="1141" y="290"/>
                      <a:pt x="1141" y="290"/>
                      <a:pt x="1141" y="290"/>
                    </a:cubicBezTo>
                    <a:cubicBezTo>
                      <a:pt x="1129" y="281"/>
                      <a:pt x="1129" y="281"/>
                      <a:pt x="1129" y="281"/>
                    </a:cubicBezTo>
                    <a:cubicBezTo>
                      <a:pt x="1118" y="282"/>
                      <a:pt x="1118" y="282"/>
                      <a:pt x="1118" y="282"/>
                    </a:cubicBezTo>
                    <a:cubicBezTo>
                      <a:pt x="1109" y="280"/>
                      <a:pt x="1109" y="280"/>
                      <a:pt x="1109" y="280"/>
                    </a:cubicBezTo>
                    <a:cubicBezTo>
                      <a:pt x="1103" y="281"/>
                      <a:pt x="1103" y="281"/>
                      <a:pt x="1103" y="281"/>
                    </a:cubicBezTo>
                    <a:cubicBezTo>
                      <a:pt x="1098" y="296"/>
                      <a:pt x="1098" y="296"/>
                      <a:pt x="1098" y="296"/>
                    </a:cubicBezTo>
                    <a:cubicBezTo>
                      <a:pt x="1094" y="298"/>
                      <a:pt x="1094" y="298"/>
                      <a:pt x="1094" y="298"/>
                    </a:cubicBezTo>
                    <a:cubicBezTo>
                      <a:pt x="1077" y="309"/>
                      <a:pt x="1077" y="309"/>
                      <a:pt x="1077" y="309"/>
                    </a:cubicBezTo>
                    <a:cubicBezTo>
                      <a:pt x="1065" y="310"/>
                      <a:pt x="1065" y="310"/>
                      <a:pt x="1065" y="310"/>
                    </a:cubicBezTo>
                    <a:cubicBezTo>
                      <a:pt x="1064" y="310"/>
                      <a:pt x="1064" y="310"/>
                      <a:pt x="1064" y="310"/>
                    </a:cubicBezTo>
                    <a:cubicBezTo>
                      <a:pt x="1054" y="307"/>
                      <a:pt x="1054" y="307"/>
                      <a:pt x="1054" y="307"/>
                    </a:cubicBezTo>
                    <a:cubicBezTo>
                      <a:pt x="1030" y="290"/>
                      <a:pt x="1030" y="290"/>
                      <a:pt x="1030" y="290"/>
                    </a:cubicBezTo>
                    <a:cubicBezTo>
                      <a:pt x="1023" y="279"/>
                      <a:pt x="1023" y="279"/>
                      <a:pt x="1023" y="279"/>
                    </a:cubicBezTo>
                    <a:cubicBezTo>
                      <a:pt x="1020" y="258"/>
                      <a:pt x="1020" y="258"/>
                      <a:pt x="1020" y="258"/>
                    </a:cubicBezTo>
                    <a:cubicBezTo>
                      <a:pt x="1006" y="245"/>
                      <a:pt x="1006" y="245"/>
                      <a:pt x="1006" y="245"/>
                    </a:cubicBezTo>
                    <a:cubicBezTo>
                      <a:pt x="1004" y="240"/>
                      <a:pt x="1004" y="240"/>
                      <a:pt x="1004" y="240"/>
                    </a:cubicBezTo>
                    <a:cubicBezTo>
                      <a:pt x="1006" y="229"/>
                      <a:pt x="1006" y="229"/>
                      <a:pt x="1006" y="229"/>
                    </a:cubicBezTo>
                    <a:cubicBezTo>
                      <a:pt x="999" y="221"/>
                      <a:pt x="999" y="221"/>
                      <a:pt x="999" y="221"/>
                    </a:cubicBezTo>
                    <a:cubicBezTo>
                      <a:pt x="998" y="212"/>
                      <a:pt x="998" y="212"/>
                      <a:pt x="998" y="212"/>
                    </a:cubicBezTo>
                    <a:cubicBezTo>
                      <a:pt x="993" y="212"/>
                      <a:pt x="993" y="212"/>
                      <a:pt x="993" y="212"/>
                    </a:cubicBezTo>
                    <a:cubicBezTo>
                      <a:pt x="987" y="214"/>
                      <a:pt x="987" y="214"/>
                      <a:pt x="987" y="214"/>
                    </a:cubicBezTo>
                    <a:cubicBezTo>
                      <a:pt x="983" y="211"/>
                      <a:pt x="983" y="211"/>
                      <a:pt x="983" y="211"/>
                    </a:cubicBezTo>
                    <a:cubicBezTo>
                      <a:pt x="972" y="213"/>
                      <a:pt x="972" y="213"/>
                      <a:pt x="972" y="213"/>
                    </a:cubicBezTo>
                    <a:cubicBezTo>
                      <a:pt x="965" y="206"/>
                      <a:pt x="965" y="206"/>
                      <a:pt x="965" y="206"/>
                    </a:cubicBezTo>
                    <a:cubicBezTo>
                      <a:pt x="951" y="203"/>
                      <a:pt x="951" y="203"/>
                      <a:pt x="951" y="203"/>
                    </a:cubicBezTo>
                    <a:cubicBezTo>
                      <a:pt x="936" y="190"/>
                      <a:pt x="936" y="190"/>
                      <a:pt x="936" y="190"/>
                    </a:cubicBezTo>
                    <a:cubicBezTo>
                      <a:pt x="933" y="191"/>
                      <a:pt x="933" y="191"/>
                      <a:pt x="933" y="191"/>
                    </a:cubicBezTo>
                    <a:cubicBezTo>
                      <a:pt x="929" y="191"/>
                      <a:pt x="929" y="191"/>
                      <a:pt x="929" y="191"/>
                    </a:cubicBezTo>
                    <a:cubicBezTo>
                      <a:pt x="922" y="183"/>
                      <a:pt x="922" y="183"/>
                      <a:pt x="922" y="183"/>
                    </a:cubicBezTo>
                    <a:cubicBezTo>
                      <a:pt x="920" y="184"/>
                      <a:pt x="920" y="184"/>
                      <a:pt x="920" y="184"/>
                    </a:cubicBezTo>
                    <a:cubicBezTo>
                      <a:pt x="916" y="242"/>
                      <a:pt x="916" y="242"/>
                      <a:pt x="916" y="242"/>
                    </a:cubicBezTo>
                    <a:cubicBezTo>
                      <a:pt x="925" y="261"/>
                      <a:pt x="925" y="261"/>
                      <a:pt x="925" y="261"/>
                    </a:cubicBezTo>
                    <a:cubicBezTo>
                      <a:pt x="929" y="262"/>
                      <a:pt x="929" y="262"/>
                      <a:pt x="929" y="262"/>
                    </a:cubicBezTo>
                    <a:cubicBezTo>
                      <a:pt x="934" y="269"/>
                      <a:pt x="934" y="269"/>
                      <a:pt x="934" y="269"/>
                    </a:cubicBezTo>
                    <a:cubicBezTo>
                      <a:pt x="933" y="277"/>
                      <a:pt x="933" y="277"/>
                      <a:pt x="933" y="277"/>
                    </a:cubicBezTo>
                    <a:cubicBezTo>
                      <a:pt x="928" y="284"/>
                      <a:pt x="928" y="284"/>
                      <a:pt x="928" y="284"/>
                    </a:cubicBezTo>
                    <a:cubicBezTo>
                      <a:pt x="941" y="292"/>
                      <a:pt x="941" y="292"/>
                      <a:pt x="941" y="292"/>
                    </a:cubicBezTo>
                    <a:cubicBezTo>
                      <a:pt x="954" y="316"/>
                      <a:pt x="954" y="316"/>
                      <a:pt x="954" y="316"/>
                    </a:cubicBezTo>
                    <a:cubicBezTo>
                      <a:pt x="950" y="339"/>
                      <a:pt x="950" y="339"/>
                      <a:pt x="950" y="339"/>
                    </a:cubicBezTo>
                    <a:cubicBezTo>
                      <a:pt x="937" y="355"/>
                      <a:pt x="937" y="355"/>
                      <a:pt x="937" y="355"/>
                    </a:cubicBezTo>
                    <a:cubicBezTo>
                      <a:pt x="922" y="373"/>
                      <a:pt x="922" y="373"/>
                      <a:pt x="922" y="373"/>
                    </a:cubicBezTo>
                    <a:cubicBezTo>
                      <a:pt x="909" y="376"/>
                      <a:pt x="909" y="376"/>
                      <a:pt x="909" y="376"/>
                    </a:cubicBezTo>
                    <a:cubicBezTo>
                      <a:pt x="876" y="363"/>
                      <a:pt x="876" y="363"/>
                      <a:pt x="876" y="363"/>
                    </a:cubicBezTo>
                    <a:cubicBezTo>
                      <a:pt x="871" y="356"/>
                      <a:pt x="871" y="356"/>
                      <a:pt x="871" y="356"/>
                    </a:cubicBezTo>
                    <a:cubicBezTo>
                      <a:pt x="863" y="359"/>
                      <a:pt x="863" y="359"/>
                      <a:pt x="863" y="359"/>
                    </a:cubicBezTo>
                    <a:cubicBezTo>
                      <a:pt x="855" y="355"/>
                      <a:pt x="855" y="355"/>
                      <a:pt x="855" y="355"/>
                    </a:cubicBezTo>
                    <a:cubicBezTo>
                      <a:pt x="850" y="347"/>
                      <a:pt x="850" y="347"/>
                      <a:pt x="850" y="347"/>
                    </a:cubicBezTo>
                    <a:cubicBezTo>
                      <a:pt x="855" y="337"/>
                      <a:pt x="855" y="337"/>
                      <a:pt x="855" y="337"/>
                    </a:cubicBezTo>
                    <a:cubicBezTo>
                      <a:pt x="856" y="334"/>
                      <a:pt x="856" y="334"/>
                      <a:pt x="856" y="334"/>
                    </a:cubicBezTo>
                    <a:cubicBezTo>
                      <a:pt x="855" y="329"/>
                      <a:pt x="855" y="329"/>
                      <a:pt x="855" y="329"/>
                    </a:cubicBezTo>
                    <a:cubicBezTo>
                      <a:pt x="844" y="312"/>
                      <a:pt x="844" y="312"/>
                      <a:pt x="844" y="312"/>
                    </a:cubicBezTo>
                    <a:cubicBezTo>
                      <a:pt x="842" y="311"/>
                      <a:pt x="842" y="311"/>
                      <a:pt x="842" y="311"/>
                    </a:cubicBezTo>
                    <a:cubicBezTo>
                      <a:pt x="842" y="318"/>
                      <a:pt x="842" y="318"/>
                      <a:pt x="842" y="318"/>
                    </a:cubicBezTo>
                    <a:cubicBezTo>
                      <a:pt x="833" y="317"/>
                      <a:pt x="833" y="317"/>
                      <a:pt x="833" y="317"/>
                    </a:cubicBezTo>
                    <a:cubicBezTo>
                      <a:pt x="826" y="312"/>
                      <a:pt x="826" y="312"/>
                      <a:pt x="826" y="312"/>
                    </a:cubicBezTo>
                    <a:cubicBezTo>
                      <a:pt x="825" y="320"/>
                      <a:pt x="825" y="320"/>
                      <a:pt x="825" y="320"/>
                    </a:cubicBezTo>
                    <a:cubicBezTo>
                      <a:pt x="825" y="321"/>
                      <a:pt x="825" y="321"/>
                      <a:pt x="825" y="321"/>
                    </a:cubicBezTo>
                    <a:cubicBezTo>
                      <a:pt x="833" y="334"/>
                      <a:pt x="833" y="334"/>
                      <a:pt x="833" y="334"/>
                    </a:cubicBezTo>
                    <a:cubicBezTo>
                      <a:pt x="830" y="342"/>
                      <a:pt x="830" y="342"/>
                      <a:pt x="830" y="342"/>
                    </a:cubicBezTo>
                    <a:cubicBezTo>
                      <a:pt x="825" y="345"/>
                      <a:pt x="825" y="345"/>
                      <a:pt x="825" y="345"/>
                    </a:cubicBezTo>
                    <a:cubicBezTo>
                      <a:pt x="813" y="347"/>
                      <a:pt x="813" y="347"/>
                      <a:pt x="813" y="347"/>
                    </a:cubicBezTo>
                    <a:cubicBezTo>
                      <a:pt x="801" y="338"/>
                      <a:pt x="801" y="338"/>
                      <a:pt x="801" y="338"/>
                    </a:cubicBezTo>
                    <a:cubicBezTo>
                      <a:pt x="788" y="334"/>
                      <a:pt x="788" y="334"/>
                      <a:pt x="788" y="334"/>
                    </a:cubicBezTo>
                    <a:cubicBezTo>
                      <a:pt x="788" y="343"/>
                      <a:pt x="788" y="343"/>
                      <a:pt x="788" y="343"/>
                    </a:cubicBezTo>
                    <a:cubicBezTo>
                      <a:pt x="790" y="347"/>
                      <a:pt x="790" y="347"/>
                      <a:pt x="790" y="347"/>
                    </a:cubicBezTo>
                    <a:cubicBezTo>
                      <a:pt x="794" y="349"/>
                      <a:pt x="794" y="349"/>
                      <a:pt x="794" y="349"/>
                    </a:cubicBezTo>
                    <a:cubicBezTo>
                      <a:pt x="801" y="348"/>
                      <a:pt x="801" y="348"/>
                      <a:pt x="801" y="348"/>
                    </a:cubicBezTo>
                    <a:cubicBezTo>
                      <a:pt x="806" y="354"/>
                      <a:pt x="806" y="354"/>
                      <a:pt x="806" y="354"/>
                    </a:cubicBezTo>
                    <a:cubicBezTo>
                      <a:pt x="803" y="362"/>
                      <a:pt x="803" y="362"/>
                      <a:pt x="803" y="362"/>
                    </a:cubicBezTo>
                    <a:cubicBezTo>
                      <a:pt x="805" y="365"/>
                      <a:pt x="805" y="365"/>
                      <a:pt x="805" y="365"/>
                    </a:cubicBezTo>
                    <a:cubicBezTo>
                      <a:pt x="816" y="364"/>
                      <a:pt x="816" y="364"/>
                      <a:pt x="816" y="364"/>
                    </a:cubicBezTo>
                    <a:cubicBezTo>
                      <a:pt x="823" y="370"/>
                      <a:pt x="823" y="370"/>
                      <a:pt x="823" y="370"/>
                    </a:cubicBezTo>
                    <a:cubicBezTo>
                      <a:pt x="825" y="376"/>
                      <a:pt x="825" y="376"/>
                      <a:pt x="825" y="376"/>
                    </a:cubicBezTo>
                    <a:cubicBezTo>
                      <a:pt x="821" y="386"/>
                      <a:pt x="821" y="386"/>
                      <a:pt x="821" y="386"/>
                    </a:cubicBezTo>
                    <a:cubicBezTo>
                      <a:pt x="820" y="391"/>
                      <a:pt x="820" y="391"/>
                      <a:pt x="820" y="391"/>
                    </a:cubicBezTo>
                    <a:cubicBezTo>
                      <a:pt x="813" y="396"/>
                      <a:pt x="813" y="396"/>
                      <a:pt x="813" y="396"/>
                    </a:cubicBezTo>
                    <a:cubicBezTo>
                      <a:pt x="801" y="398"/>
                      <a:pt x="801" y="398"/>
                      <a:pt x="801" y="398"/>
                    </a:cubicBezTo>
                    <a:cubicBezTo>
                      <a:pt x="786" y="390"/>
                      <a:pt x="786" y="390"/>
                      <a:pt x="786" y="390"/>
                    </a:cubicBezTo>
                    <a:cubicBezTo>
                      <a:pt x="780" y="385"/>
                      <a:pt x="780" y="385"/>
                      <a:pt x="780" y="385"/>
                    </a:cubicBezTo>
                    <a:cubicBezTo>
                      <a:pt x="743" y="357"/>
                      <a:pt x="743" y="357"/>
                      <a:pt x="743" y="357"/>
                    </a:cubicBezTo>
                    <a:cubicBezTo>
                      <a:pt x="733" y="353"/>
                      <a:pt x="733" y="353"/>
                      <a:pt x="733" y="353"/>
                    </a:cubicBezTo>
                    <a:cubicBezTo>
                      <a:pt x="729" y="358"/>
                      <a:pt x="729" y="358"/>
                      <a:pt x="729" y="358"/>
                    </a:cubicBezTo>
                    <a:cubicBezTo>
                      <a:pt x="733" y="368"/>
                      <a:pt x="733" y="368"/>
                      <a:pt x="733" y="368"/>
                    </a:cubicBezTo>
                    <a:cubicBezTo>
                      <a:pt x="726" y="377"/>
                      <a:pt x="726" y="377"/>
                      <a:pt x="726" y="377"/>
                    </a:cubicBezTo>
                    <a:cubicBezTo>
                      <a:pt x="712" y="386"/>
                      <a:pt x="712" y="386"/>
                      <a:pt x="712" y="386"/>
                    </a:cubicBezTo>
                    <a:cubicBezTo>
                      <a:pt x="705" y="386"/>
                      <a:pt x="705" y="386"/>
                      <a:pt x="705" y="386"/>
                    </a:cubicBezTo>
                    <a:cubicBezTo>
                      <a:pt x="669" y="372"/>
                      <a:pt x="669" y="372"/>
                      <a:pt x="669" y="372"/>
                    </a:cubicBezTo>
                    <a:cubicBezTo>
                      <a:pt x="659" y="365"/>
                      <a:pt x="659" y="365"/>
                      <a:pt x="659" y="365"/>
                    </a:cubicBezTo>
                    <a:cubicBezTo>
                      <a:pt x="637" y="339"/>
                      <a:pt x="637" y="339"/>
                      <a:pt x="637" y="339"/>
                    </a:cubicBezTo>
                    <a:cubicBezTo>
                      <a:pt x="626" y="336"/>
                      <a:pt x="626" y="336"/>
                      <a:pt x="626" y="336"/>
                    </a:cubicBezTo>
                    <a:cubicBezTo>
                      <a:pt x="625" y="335"/>
                      <a:pt x="625" y="335"/>
                      <a:pt x="625" y="335"/>
                    </a:cubicBezTo>
                    <a:cubicBezTo>
                      <a:pt x="592" y="330"/>
                      <a:pt x="592" y="330"/>
                      <a:pt x="592" y="330"/>
                    </a:cubicBezTo>
                    <a:cubicBezTo>
                      <a:pt x="570" y="332"/>
                      <a:pt x="570" y="332"/>
                      <a:pt x="570" y="332"/>
                    </a:cubicBezTo>
                    <a:cubicBezTo>
                      <a:pt x="559" y="330"/>
                      <a:pt x="559" y="330"/>
                      <a:pt x="559" y="330"/>
                    </a:cubicBezTo>
                    <a:cubicBezTo>
                      <a:pt x="554" y="335"/>
                      <a:pt x="554" y="335"/>
                      <a:pt x="554" y="335"/>
                    </a:cubicBezTo>
                    <a:cubicBezTo>
                      <a:pt x="545" y="330"/>
                      <a:pt x="545" y="330"/>
                      <a:pt x="545" y="330"/>
                    </a:cubicBezTo>
                    <a:cubicBezTo>
                      <a:pt x="543" y="333"/>
                      <a:pt x="543" y="333"/>
                      <a:pt x="543" y="333"/>
                    </a:cubicBezTo>
                    <a:cubicBezTo>
                      <a:pt x="544" y="344"/>
                      <a:pt x="544" y="344"/>
                      <a:pt x="544" y="344"/>
                    </a:cubicBezTo>
                    <a:cubicBezTo>
                      <a:pt x="535" y="353"/>
                      <a:pt x="535" y="353"/>
                      <a:pt x="535" y="353"/>
                    </a:cubicBezTo>
                    <a:cubicBezTo>
                      <a:pt x="533" y="375"/>
                      <a:pt x="533" y="375"/>
                      <a:pt x="533" y="375"/>
                    </a:cubicBezTo>
                    <a:cubicBezTo>
                      <a:pt x="537" y="388"/>
                      <a:pt x="537" y="388"/>
                      <a:pt x="537" y="388"/>
                    </a:cubicBezTo>
                    <a:cubicBezTo>
                      <a:pt x="534" y="398"/>
                      <a:pt x="534" y="398"/>
                      <a:pt x="534" y="398"/>
                    </a:cubicBezTo>
                    <a:cubicBezTo>
                      <a:pt x="526" y="407"/>
                      <a:pt x="526" y="407"/>
                      <a:pt x="526" y="407"/>
                    </a:cubicBezTo>
                    <a:cubicBezTo>
                      <a:pt x="503" y="418"/>
                      <a:pt x="503" y="418"/>
                      <a:pt x="503" y="418"/>
                    </a:cubicBezTo>
                    <a:cubicBezTo>
                      <a:pt x="493" y="430"/>
                      <a:pt x="493" y="430"/>
                      <a:pt x="493" y="430"/>
                    </a:cubicBezTo>
                    <a:cubicBezTo>
                      <a:pt x="484" y="432"/>
                      <a:pt x="484" y="432"/>
                      <a:pt x="484" y="432"/>
                    </a:cubicBezTo>
                    <a:cubicBezTo>
                      <a:pt x="478" y="439"/>
                      <a:pt x="478" y="439"/>
                      <a:pt x="478" y="439"/>
                    </a:cubicBezTo>
                    <a:cubicBezTo>
                      <a:pt x="475" y="440"/>
                      <a:pt x="475" y="440"/>
                      <a:pt x="475" y="440"/>
                    </a:cubicBezTo>
                    <a:cubicBezTo>
                      <a:pt x="462" y="440"/>
                      <a:pt x="462" y="440"/>
                      <a:pt x="462" y="440"/>
                    </a:cubicBezTo>
                    <a:cubicBezTo>
                      <a:pt x="457" y="444"/>
                      <a:pt x="457" y="444"/>
                      <a:pt x="457" y="444"/>
                    </a:cubicBezTo>
                    <a:cubicBezTo>
                      <a:pt x="443" y="447"/>
                      <a:pt x="443" y="447"/>
                      <a:pt x="443" y="447"/>
                    </a:cubicBezTo>
                    <a:cubicBezTo>
                      <a:pt x="434" y="453"/>
                      <a:pt x="434" y="453"/>
                      <a:pt x="434" y="453"/>
                    </a:cubicBezTo>
                    <a:cubicBezTo>
                      <a:pt x="424" y="455"/>
                      <a:pt x="424" y="455"/>
                      <a:pt x="424" y="455"/>
                    </a:cubicBezTo>
                    <a:cubicBezTo>
                      <a:pt x="407" y="449"/>
                      <a:pt x="407" y="449"/>
                      <a:pt x="407" y="449"/>
                    </a:cubicBezTo>
                    <a:cubicBezTo>
                      <a:pt x="411" y="441"/>
                      <a:pt x="411" y="441"/>
                      <a:pt x="411" y="441"/>
                    </a:cubicBezTo>
                    <a:cubicBezTo>
                      <a:pt x="409" y="440"/>
                      <a:pt x="409" y="440"/>
                      <a:pt x="409" y="440"/>
                    </a:cubicBezTo>
                    <a:cubicBezTo>
                      <a:pt x="401" y="441"/>
                      <a:pt x="401" y="441"/>
                      <a:pt x="401" y="441"/>
                    </a:cubicBezTo>
                    <a:cubicBezTo>
                      <a:pt x="391" y="455"/>
                      <a:pt x="391" y="455"/>
                      <a:pt x="391" y="455"/>
                    </a:cubicBezTo>
                    <a:cubicBezTo>
                      <a:pt x="393" y="459"/>
                      <a:pt x="393" y="459"/>
                      <a:pt x="393" y="459"/>
                    </a:cubicBezTo>
                    <a:cubicBezTo>
                      <a:pt x="405" y="461"/>
                      <a:pt x="405" y="461"/>
                      <a:pt x="405" y="461"/>
                    </a:cubicBezTo>
                    <a:cubicBezTo>
                      <a:pt x="412" y="471"/>
                      <a:pt x="412" y="471"/>
                      <a:pt x="412" y="471"/>
                    </a:cubicBezTo>
                    <a:cubicBezTo>
                      <a:pt x="417" y="466"/>
                      <a:pt x="417" y="466"/>
                      <a:pt x="417" y="466"/>
                    </a:cubicBezTo>
                    <a:cubicBezTo>
                      <a:pt x="421" y="471"/>
                      <a:pt x="421" y="471"/>
                      <a:pt x="421" y="471"/>
                    </a:cubicBezTo>
                    <a:cubicBezTo>
                      <a:pt x="428" y="474"/>
                      <a:pt x="428" y="474"/>
                      <a:pt x="428" y="474"/>
                    </a:cubicBezTo>
                    <a:cubicBezTo>
                      <a:pt x="438" y="491"/>
                      <a:pt x="438" y="491"/>
                      <a:pt x="438" y="491"/>
                    </a:cubicBezTo>
                    <a:cubicBezTo>
                      <a:pt x="440" y="502"/>
                      <a:pt x="440" y="502"/>
                      <a:pt x="440" y="502"/>
                    </a:cubicBezTo>
                    <a:cubicBezTo>
                      <a:pt x="446" y="509"/>
                      <a:pt x="446" y="509"/>
                      <a:pt x="446" y="509"/>
                    </a:cubicBezTo>
                    <a:cubicBezTo>
                      <a:pt x="443" y="529"/>
                      <a:pt x="443" y="529"/>
                      <a:pt x="443" y="529"/>
                    </a:cubicBezTo>
                    <a:cubicBezTo>
                      <a:pt x="438" y="535"/>
                      <a:pt x="438" y="535"/>
                      <a:pt x="438" y="535"/>
                    </a:cubicBezTo>
                    <a:cubicBezTo>
                      <a:pt x="415" y="539"/>
                      <a:pt x="415" y="539"/>
                      <a:pt x="415" y="539"/>
                    </a:cubicBezTo>
                    <a:cubicBezTo>
                      <a:pt x="371" y="516"/>
                      <a:pt x="371" y="516"/>
                      <a:pt x="371" y="516"/>
                    </a:cubicBezTo>
                    <a:cubicBezTo>
                      <a:pt x="358" y="497"/>
                      <a:pt x="358" y="497"/>
                      <a:pt x="358" y="497"/>
                    </a:cubicBezTo>
                    <a:cubicBezTo>
                      <a:pt x="339" y="486"/>
                      <a:pt x="339" y="486"/>
                      <a:pt x="339" y="486"/>
                    </a:cubicBezTo>
                    <a:cubicBezTo>
                      <a:pt x="321" y="481"/>
                      <a:pt x="321" y="481"/>
                      <a:pt x="321" y="481"/>
                    </a:cubicBezTo>
                    <a:cubicBezTo>
                      <a:pt x="302" y="469"/>
                      <a:pt x="302" y="469"/>
                      <a:pt x="302" y="469"/>
                    </a:cubicBezTo>
                    <a:cubicBezTo>
                      <a:pt x="290" y="468"/>
                      <a:pt x="290" y="468"/>
                      <a:pt x="290" y="468"/>
                    </a:cubicBezTo>
                    <a:cubicBezTo>
                      <a:pt x="284" y="466"/>
                      <a:pt x="284" y="466"/>
                      <a:pt x="284" y="466"/>
                    </a:cubicBezTo>
                    <a:cubicBezTo>
                      <a:pt x="270" y="461"/>
                      <a:pt x="270" y="461"/>
                      <a:pt x="270" y="461"/>
                    </a:cubicBezTo>
                    <a:cubicBezTo>
                      <a:pt x="264" y="461"/>
                      <a:pt x="264" y="461"/>
                      <a:pt x="264" y="461"/>
                    </a:cubicBezTo>
                    <a:cubicBezTo>
                      <a:pt x="260" y="484"/>
                      <a:pt x="260" y="484"/>
                      <a:pt x="260" y="484"/>
                    </a:cubicBezTo>
                    <a:cubicBezTo>
                      <a:pt x="263" y="512"/>
                      <a:pt x="263" y="512"/>
                      <a:pt x="263" y="512"/>
                    </a:cubicBezTo>
                    <a:cubicBezTo>
                      <a:pt x="276" y="528"/>
                      <a:pt x="276" y="528"/>
                      <a:pt x="276" y="528"/>
                    </a:cubicBezTo>
                    <a:cubicBezTo>
                      <a:pt x="292" y="540"/>
                      <a:pt x="292" y="540"/>
                      <a:pt x="292" y="540"/>
                    </a:cubicBezTo>
                    <a:cubicBezTo>
                      <a:pt x="295" y="550"/>
                      <a:pt x="295" y="550"/>
                      <a:pt x="295" y="550"/>
                    </a:cubicBezTo>
                    <a:cubicBezTo>
                      <a:pt x="299" y="553"/>
                      <a:pt x="299" y="553"/>
                      <a:pt x="299" y="553"/>
                    </a:cubicBezTo>
                    <a:cubicBezTo>
                      <a:pt x="303" y="550"/>
                      <a:pt x="303" y="550"/>
                      <a:pt x="303" y="550"/>
                    </a:cubicBezTo>
                    <a:cubicBezTo>
                      <a:pt x="314" y="554"/>
                      <a:pt x="314" y="554"/>
                      <a:pt x="314" y="554"/>
                    </a:cubicBezTo>
                    <a:cubicBezTo>
                      <a:pt x="321" y="560"/>
                      <a:pt x="321" y="560"/>
                      <a:pt x="321" y="560"/>
                    </a:cubicBezTo>
                    <a:cubicBezTo>
                      <a:pt x="326" y="578"/>
                      <a:pt x="326" y="578"/>
                      <a:pt x="326" y="578"/>
                    </a:cubicBezTo>
                    <a:cubicBezTo>
                      <a:pt x="333" y="582"/>
                      <a:pt x="333" y="582"/>
                      <a:pt x="333" y="582"/>
                    </a:cubicBezTo>
                    <a:cubicBezTo>
                      <a:pt x="338" y="579"/>
                      <a:pt x="338" y="579"/>
                      <a:pt x="338" y="579"/>
                    </a:cubicBezTo>
                    <a:cubicBezTo>
                      <a:pt x="338" y="589"/>
                      <a:pt x="338" y="589"/>
                      <a:pt x="338" y="589"/>
                    </a:cubicBezTo>
                    <a:cubicBezTo>
                      <a:pt x="343" y="590"/>
                      <a:pt x="343" y="590"/>
                      <a:pt x="343" y="590"/>
                    </a:cubicBezTo>
                    <a:cubicBezTo>
                      <a:pt x="320" y="635"/>
                      <a:pt x="320" y="635"/>
                      <a:pt x="320" y="635"/>
                    </a:cubicBezTo>
                    <a:cubicBezTo>
                      <a:pt x="314" y="639"/>
                      <a:pt x="314" y="639"/>
                      <a:pt x="314" y="639"/>
                    </a:cubicBezTo>
                    <a:cubicBezTo>
                      <a:pt x="312" y="648"/>
                      <a:pt x="312" y="648"/>
                      <a:pt x="312" y="648"/>
                    </a:cubicBezTo>
                    <a:cubicBezTo>
                      <a:pt x="307" y="649"/>
                      <a:pt x="307" y="649"/>
                      <a:pt x="307" y="649"/>
                    </a:cubicBezTo>
                    <a:cubicBezTo>
                      <a:pt x="301" y="655"/>
                      <a:pt x="301" y="655"/>
                      <a:pt x="301" y="655"/>
                    </a:cubicBezTo>
                    <a:cubicBezTo>
                      <a:pt x="297" y="641"/>
                      <a:pt x="297" y="641"/>
                      <a:pt x="297" y="641"/>
                    </a:cubicBezTo>
                    <a:cubicBezTo>
                      <a:pt x="298" y="640"/>
                      <a:pt x="298" y="640"/>
                      <a:pt x="298" y="640"/>
                    </a:cubicBezTo>
                    <a:cubicBezTo>
                      <a:pt x="302" y="637"/>
                      <a:pt x="302" y="637"/>
                      <a:pt x="302" y="637"/>
                    </a:cubicBezTo>
                    <a:cubicBezTo>
                      <a:pt x="305" y="631"/>
                      <a:pt x="305" y="631"/>
                      <a:pt x="305" y="631"/>
                    </a:cubicBezTo>
                    <a:cubicBezTo>
                      <a:pt x="302" y="629"/>
                      <a:pt x="302" y="629"/>
                      <a:pt x="302" y="629"/>
                    </a:cubicBezTo>
                    <a:cubicBezTo>
                      <a:pt x="294" y="630"/>
                      <a:pt x="294" y="630"/>
                      <a:pt x="294" y="630"/>
                    </a:cubicBezTo>
                    <a:cubicBezTo>
                      <a:pt x="285" y="625"/>
                      <a:pt x="285" y="625"/>
                      <a:pt x="285" y="625"/>
                    </a:cubicBezTo>
                    <a:cubicBezTo>
                      <a:pt x="278" y="627"/>
                      <a:pt x="278" y="627"/>
                      <a:pt x="278" y="627"/>
                    </a:cubicBezTo>
                    <a:cubicBezTo>
                      <a:pt x="269" y="619"/>
                      <a:pt x="269" y="619"/>
                      <a:pt x="269" y="619"/>
                    </a:cubicBezTo>
                    <a:cubicBezTo>
                      <a:pt x="263" y="623"/>
                      <a:pt x="263" y="623"/>
                      <a:pt x="263" y="623"/>
                    </a:cubicBezTo>
                    <a:cubicBezTo>
                      <a:pt x="250" y="622"/>
                      <a:pt x="250" y="622"/>
                      <a:pt x="250" y="622"/>
                    </a:cubicBezTo>
                    <a:cubicBezTo>
                      <a:pt x="244" y="628"/>
                      <a:pt x="244" y="628"/>
                      <a:pt x="244" y="628"/>
                    </a:cubicBezTo>
                    <a:cubicBezTo>
                      <a:pt x="232" y="630"/>
                      <a:pt x="232" y="630"/>
                      <a:pt x="232" y="630"/>
                    </a:cubicBezTo>
                    <a:cubicBezTo>
                      <a:pt x="231" y="630"/>
                      <a:pt x="231" y="630"/>
                      <a:pt x="231" y="630"/>
                    </a:cubicBezTo>
                    <a:cubicBezTo>
                      <a:pt x="210" y="636"/>
                      <a:pt x="210" y="636"/>
                      <a:pt x="210" y="636"/>
                    </a:cubicBezTo>
                    <a:cubicBezTo>
                      <a:pt x="201" y="646"/>
                      <a:pt x="201" y="646"/>
                      <a:pt x="201" y="646"/>
                    </a:cubicBezTo>
                    <a:cubicBezTo>
                      <a:pt x="195" y="648"/>
                      <a:pt x="195" y="648"/>
                      <a:pt x="195" y="648"/>
                    </a:cubicBezTo>
                    <a:cubicBezTo>
                      <a:pt x="190" y="648"/>
                      <a:pt x="190" y="648"/>
                      <a:pt x="190" y="648"/>
                    </a:cubicBezTo>
                    <a:cubicBezTo>
                      <a:pt x="179" y="642"/>
                      <a:pt x="179" y="642"/>
                      <a:pt x="179" y="642"/>
                    </a:cubicBezTo>
                    <a:cubicBezTo>
                      <a:pt x="168" y="643"/>
                      <a:pt x="168" y="643"/>
                      <a:pt x="168" y="643"/>
                    </a:cubicBezTo>
                    <a:cubicBezTo>
                      <a:pt x="160" y="636"/>
                      <a:pt x="160" y="636"/>
                      <a:pt x="160" y="636"/>
                    </a:cubicBezTo>
                    <a:cubicBezTo>
                      <a:pt x="155" y="636"/>
                      <a:pt x="155" y="636"/>
                      <a:pt x="155" y="636"/>
                    </a:cubicBezTo>
                    <a:cubicBezTo>
                      <a:pt x="142" y="646"/>
                      <a:pt x="142" y="646"/>
                      <a:pt x="142" y="646"/>
                    </a:cubicBezTo>
                    <a:cubicBezTo>
                      <a:pt x="133" y="649"/>
                      <a:pt x="133" y="649"/>
                      <a:pt x="133" y="649"/>
                    </a:cubicBezTo>
                    <a:cubicBezTo>
                      <a:pt x="126" y="639"/>
                      <a:pt x="126" y="639"/>
                      <a:pt x="126" y="639"/>
                    </a:cubicBezTo>
                    <a:cubicBezTo>
                      <a:pt x="116" y="634"/>
                      <a:pt x="116" y="634"/>
                      <a:pt x="116" y="634"/>
                    </a:cubicBezTo>
                    <a:cubicBezTo>
                      <a:pt x="108" y="634"/>
                      <a:pt x="108" y="634"/>
                      <a:pt x="108" y="634"/>
                    </a:cubicBezTo>
                    <a:cubicBezTo>
                      <a:pt x="95" y="625"/>
                      <a:pt x="95" y="625"/>
                      <a:pt x="95" y="625"/>
                    </a:cubicBezTo>
                    <a:cubicBezTo>
                      <a:pt x="83" y="621"/>
                      <a:pt x="83" y="621"/>
                      <a:pt x="83" y="621"/>
                    </a:cubicBezTo>
                    <a:cubicBezTo>
                      <a:pt x="75" y="622"/>
                      <a:pt x="75" y="622"/>
                      <a:pt x="75" y="622"/>
                    </a:cubicBezTo>
                    <a:cubicBezTo>
                      <a:pt x="73" y="626"/>
                      <a:pt x="73" y="626"/>
                      <a:pt x="73" y="626"/>
                    </a:cubicBezTo>
                    <a:cubicBezTo>
                      <a:pt x="64" y="624"/>
                      <a:pt x="64" y="624"/>
                      <a:pt x="64" y="624"/>
                    </a:cubicBezTo>
                    <a:cubicBezTo>
                      <a:pt x="59" y="626"/>
                      <a:pt x="59" y="626"/>
                      <a:pt x="59" y="626"/>
                    </a:cubicBezTo>
                    <a:cubicBezTo>
                      <a:pt x="48" y="630"/>
                      <a:pt x="48" y="630"/>
                      <a:pt x="48" y="630"/>
                    </a:cubicBezTo>
                    <a:cubicBezTo>
                      <a:pt x="42" y="645"/>
                      <a:pt x="42" y="645"/>
                      <a:pt x="42" y="645"/>
                    </a:cubicBezTo>
                    <a:cubicBezTo>
                      <a:pt x="34" y="649"/>
                      <a:pt x="34" y="649"/>
                      <a:pt x="34" y="649"/>
                    </a:cubicBezTo>
                    <a:cubicBezTo>
                      <a:pt x="25" y="644"/>
                      <a:pt x="25" y="644"/>
                      <a:pt x="25" y="644"/>
                    </a:cubicBezTo>
                    <a:cubicBezTo>
                      <a:pt x="14" y="648"/>
                      <a:pt x="14" y="648"/>
                      <a:pt x="14" y="648"/>
                    </a:cubicBezTo>
                    <a:cubicBezTo>
                      <a:pt x="8" y="647"/>
                      <a:pt x="8" y="647"/>
                      <a:pt x="8" y="647"/>
                    </a:cubicBezTo>
                    <a:cubicBezTo>
                      <a:pt x="6" y="642"/>
                      <a:pt x="6" y="642"/>
                      <a:pt x="6" y="642"/>
                    </a:cubicBezTo>
                    <a:cubicBezTo>
                      <a:pt x="0" y="642"/>
                      <a:pt x="0" y="642"/>
                      <a:pt x="0" y="642"/>
                    </a:cubicBezTo>
                    <a:cubicBezTo>
                      <a:pt x="4" y="661"/>
                      <a:pt x="4" y="661"/>
                      <a:pt x="4" y="661"/>
                    </a:cubicBezTo>
                    <a:cubicBezTo>
                      <a:pt x="15" y="668"/>
                      <a:pt x="15" y="668"/>
                      <a:pt x="15" y="668"/>
                    </a:cubicBezTo>
                    <a:cubicBezTo>
                      <a:pt x="16" y="673"/>
                      <a:pt x="16" y="673"/>
                      <a:pt x="16" y="673"/>
                    </a:cubicBezTo>
                    <a:cubicBezTo>
                      <a:pt x="10" y="692"/>
                      <a:pt x="10" y="692"/>
                      <a:pt x="10" y="692"/>
                    </a:cubicBezTo>
                    <a:cubicBezTo>
                      <a:pt x="2" y="701"/>
                      <a:pt x="2" y="701"/>
                      <a:pt x="2" y="701"/>
                    </a:cubicBezTo>
                    <a:cubicBezTo>
                      <a:pt x="4" y="704"/>
                      <a:pt x="4" y="704"/>
                      <a:pt x="4" y="704"/>
                    </a:cubicBezTo>
                    <a:cubicBezTo>
                      <a:pt x="13" y="694"/>
                      <a:pt x="9" y="723"/>
                      <a:pt x="10" y="731"/>
                    </a:cubicBezTo>
                    <a:cubicBezTo>
                      <a:pt x="1" y="755"/>
                      <a:pt x="26" y="745"/>
                      <a:pt x="42" y="747"/>
                    </a:cubicBezTo>
                    <a:cubicBezTo>
                      <a:pt x="64" y="744"/>
                      <a:pt x="49" y="775"/>
                      <a:pt x="53" y="788"/>
                    </a:cubicBezTo>
                    <a:cubicBezTo>
                      <a:pt x="50" y="806"/>
                      <a:pt x="81" y="793"/>
                      <a:pt x="94" y="796"/>
                    </a:cubicBezTo>
                    <a:cubicBezTo>
                      <a:pt x="111" y="802"/>
                      <a:pt x="97" y="828"/>
                      <a:pt x="119" y="820"/>
                    </a:cubicBezTo>
                    <a:cubicBezTo>
                      <a:pt x="131" y="822"/>
                      <a:pt x="140" y="839"/>
                      <a:pt x="149" y="850"/>
                    </a:cubicBezTo>
                    <a:cubicBezTo>
                      <a:pt x="159" y="867"/>
                      <a:pt x="160" y="864"/>
                      <a:pt x="177" y="857"/>
                    </a:cubicBezTo>
                    <a:cubicBezTo>
                      <a:pt x="188" y="861"/>
                      <a:pt x="197" y="847"/>
                      <a:pt x="213" y="852"/>
                    </a:cubicBezTo>
                    <a:cubicBezTo>
                      <a:pt x="237" y="855"/>
                      <a:pt x="262" y="856"/>
                      <a:pt x="287" y="860"/>
                    </a:cubicBezTo>
                    <a:cubicBezTo>
                      <a:pt x="303" y="866"/>
                      <a:pt x="316" y="875"/>
                      <a:pt x="332" y="882"/>
                    </a:cubicBezTo>
                    <a:cubicBezTo>
                      <a:pt x="346" y="887"/>
                      <a:pt x="353" y="903"/>
                      <a:pt x="336" y="910"/>
                    </a:cubicBezTo>
                    <a:cubicBezTo>
                      <a:pt x="330" y="912"/>
                      <a:pt x="326" y="910"/>
                      <a:pt x="333" y="921"/>
                    </a:cubicBezTo>
                    <a:cubicBezTo>
                      <a:pt x="341" y="933"/>
                      <a:pt x="324" y="929"/>
                      <a:pt x="339" y="942"/>
                    </a:cubicBezTo>
                    <a:cubicBezTo>
                      <a:pt x="341" y="955"/>
                      <a:pt x="356" y="955"/>
                      <a:pt x="366" y="964"/>
                    </a:cubicBezTo>
                    <a:cubicBezTo>
                      <a:pt x="362" y="981"/>
                      <a:pt x="395" y="979"/>
                      <a:pt x="373" y="991"/>
                    </a:cubicBezTo>
                    <a:cubicBezTo>
                      <a:pt x="368" y="995"/>
                      <a:pt x="364" y="999"/>
                      <a:pt x="359" y="1004"/>
                    </a:cubicBezTo>
                    <a:cubicBezTo>
                      <a:pt x="359" y="1004"/>
                      <a:pt x="366" y="1007"/>
                      <a:pt x="373" y="1009"/>
                    </a:cubicBezTo>
                    <a:cubicBezTo>
                      <a:pt x="380" y="1011"/>
                      <a:pt x="381" y="1014"/>
                      <a:pt x="379" y="1017"/>
                    </a:cubicBezTo>
                    <a:cubicBezTo>
                      <a:pt x="377" y="1020"/>
                      <a:pt x="373" y="1029"/>
                      <a:pt x="372" y="1031"/>
                    </a:cubicBezTo>
                    <a:cubicBezTo>
                      <a:pt x="380" y="1028"/>
                      <a:pt x="390" y="1049"/>
                      <a:pt x="394" y="1029"/>
                    </a:cubicBezTo>
                    <a:cubicBezTo>
                      <a:pt x="407" y="1019"/>
                      <a:pt x="420" y="1017"/>
                      <a:pt x="426" y="1035"/>
                    </a:cubicBezTo>
                    <a:cubicBezTo>
                      <a:pt x="431" y="1047"/>
                      <a:pt x="449" y="1049"/>
                      <a:pt x="454" y="1041"/>
                    </a:cubicBezTo>
                    <a:cubicBezTo>
                      <a:pt x="460" y="1033"/>
                      <a:pt x="465" y="1034"/>
                      <a:pt x="475" y="1033"/>
                    </a:cubicBezTo>
                    <a:cubicBezTo>
                      <a:pt x="481" y="1042"/>
                      <a:pt x="480" y="1054"/>
                      <a:pt x="494" y="1058"/>
                    </a:cubicBezTo>
                    <a:cubicBezTo>
                      <a:pt x="510" y="1057"/>
                      <a:pt x="480" y="1031"/>
                      <a:pt x="501" y="1032"/>
                    </a:cubicBezTo>
                    <a:cubicBezTo>
                      <a:pt x="511" y="1039"/>
                      <a:pt x="515" y="1013"/>
                      <a:pt x="506" y="1018"/>
                    </a:cubicBezTo>
                    <a:cubicBezTo>
                      <a:pt x="500" y="1005"/>
                      <a:pt x="517" y="1005"/>
                      <a:pt x="521" y="993"/>
                    </a:cubicBezTo>
                    <a:cubicBezTo>
                      <a:pt x="520" y="989"/>
                      <a:pt x="536" y="982"/>
                      <a:pt x="543" y="990"/>
                    </a:cubicBezTo>
                    <a:cubicBezTo>
                      <a:pt x="548" y="991"/>
                      <a:pt x="567" y="983"/>
                      <a:pt x="554" y="976"/>
                    </a:cubicBezTo>
                    <a:cubicBezTo>
                      <a:pt x="546" y="972"/>
                      <a:pt x="559" y="953"/>
                      <a:pt x="545" y="961"/>
                    </a:cubicBezTo>
                    <a:cubicBezTo>
                      <a:pt x="528" y="966"/>
                      <a:pt x="548" y="952"/>
                      <a:pt x="546" y="946"/>
                    </a:cubicBezTo>
                    <a:cubicBezTo>
                      <a:pt x="534" y="938"/>
                      <a:pt x="546" y="924"/>
                      <a:pt x="558" y="937"/>
                    </a:cubicBezTo>
                    <a:cubicBezTo>
                      <a:pt x="568" y="937"/>
                      <a:pt x="579" y="926"/>
                      <a:pt x="599" y="931"/>
                    </a:cubicBezTo>
                    <a:cubicBezTo>
                      <a:pt x="613" y="928"/>
                      <a:pt x="629" y="934"/>
                      <a:pt x="640" y="921"/>
                    </a:cubicBezTo>
                    <a:cubicBezTo>
                      <a:pt x="652" y="916"/>
                      <a:pt x="665" y="910"/>
                      <a:pt x="677" y="919"/>
                    </a:cubicBezTo>
                    <a:cubicBezTo>
                      <a:pt x="688" y="914"/>
                      <a:pt x="700" y="919"/>
                      <a:pt x="710" y="922"/>
                    </a:cubicBezTo>
                    <a:cubicBezTo>
                      <a:pt x="712" y="922"/>
                      <a:pt x="718" y="922"/>
                      <a:pt x="723" y="920"/>
                    </a:cubicBezTo>
                    <a:cubicBezTo>
                      <a:pt x="735" y="927"/>
                      <a:pt x="730" y="911"/>
                      <a:pt x="730" y="899"/>
                    </a:cubicBezTo>
                    <a:cubicBezTo>
                      <a:pt x="736" y="878"/>
                      <a:pt x="724" y="886"/>
                      <a:pt x="717" y="874"/>
                    </a:cubicBezTo>
                    <a:cubicBezTo>
                      <a:pt x="710" y="866"/>
                      <a:pt x="697" y="856"/>
                      <a:pt x="718" y="857"/>
                    </a:cubicBezTo>
                    <a:cubicBezTo>
                      <a:pt x="740" y="858"/>
                      <a:pt x="736" y="845"/>
                      <a:pt x="722" y="836"/>
                    </a:cubicBezTo>
                    <a:cubicBezTo>
                      <a:pt x="713" y="826"/>
                      <a:pt x="723" y="813"/>
                      <a:pt x="725" y="803"/>
                    </a:cubicBezTo>
                    <a:cubicBezTo>
                      <a:pt x="730" y="793"/>
                      <a:pt x="720" y="765"/>
                      <a:pt x="743" y="780"/>
                    </a:cubicBezTo>
                    <a:cubicBezTo>
                      <a:pt x="759" y="781"/>
                      <a:pt x="762" y="764"/>
                      <a:pt x="775" y="758"/>
                    </a:cubicBezTo>
                    <a:cubicBezTo>
                      <a:pt x="772" y="740"/>
                      <a:pt x="792" y="744"/>
                      <a:pt x="793" y="733"/>
                    </a:cubicBezTo>
                    <a:cubicBezTo>
                      <a:pt x="803" y="728"/>
                      <a:pt x="827" y="741"/>
                      <a:pt x="817" y="732"/>
                    </a:cubicBezTo>
                    <a:cubicBezTo>
                      <a:pt x="826" y="734"/>
                      <a:pt x="833" y="726"/>
                      <a:pt x="839" y="738"/>
                    </a:cubicBezTo>
                    <a:cubicBezTo>
                      <a:pt x="845" y="742"/>
                      <a:pt x="850" y="732"/>
                      <a:pt x="852" y="744"/>
                    </a:cubicBezTo>
                    <a:cubicBezTo>
                      <a:pt x="857" y="743"/>
                      <a:pt x="849" y="717"/>
                      <a:pt x="865" y="730"/>
                    </a:cubicBezTo>
                    <a:cubicBezTo>
                      <a:pt x="869" y="736"/>
                      <a:pt x="875" y="751"/>
                      <a:pt x="885" y="744"/>
                    </a:cubicBezTo>
                    <a:cubicBezTo>
                      <a:pt x="897" y="745"/>
                      <a:pt x="903" y="764"/>
                      <a:pt x="909" y="764"/>
                    </a:cubicBezTo>
                    <a:cubicBezTo>
                      <a:pt x="929" y="776"/>
                      <a:pt x="908" y="747"/>
                      <a:pt x="926" y="754"/>
                    </a:cubicBezTo>
                    <a:cubicBezTo>
                      <a:pt x="939" y="756"/>
                      <a:pt x="905" y="728"/>
                      <a:pt x="926" y="727"/>
                    </a:cubicBezTo>
                    <a:cubicBezTo>
                      <a:pt x="942" y="729"/>
                      <a:pt x="957" y="727"/>
                      <a:pt x="971" y="719"/>
                    </a:cubicBezTo>
                    <a:cubicBezTo>
                      <a:pt x="987" y="715"/>
                      <a:pt x="1004" y="728"/>
                      <a:pt x="1020" y="718"/>
                    </a:cubicBezTo>
                    <a:cubicBezTo>
                      <a:pt x="1018" y="734"/>
                      <a:pt x="1011" y="751"/>
                      <a:pt x="1016" y="767"/>
                    </a:cubicBezTo>
                    <a:cubicBezTo>
                      <a:pt x="1005" y="789"/>
                      <a:pt x="1029" y="782"/>
                      <a:pt x="1033" y="791"/>
                    </a:cubicBezTo>
                    <a:cubicBezTo>
                      <a:pt x="1033" y="798"/>
                      <a:pt x="1029" y="815"/>
                      <a:pt x="1037" y="819"/>
                    </a:cubicBezTo>
                    <a:cubicBezTo>
                      <a:pt x="1028" y="836"/>
                      <a:pt x="1055" y="838"/>
                      <a:pt x="1066" y="844"/>
                    </a:cubicBezTo>
                    <a:cubicBezTo>
                      <a:pt x="1081" y="851"/>
                      <a:pt x="1086" y="833"/>
                      <a:pt x="1096" y="850"/>
                    </a:cubicBezTo>
                    <a:cubicBezTo>
                      <a:pt x="1102" y="852"/>
                      <a:pt x="1109" y="843"/>
                      <a:pt x="1111" y="850"/>
                    </a:cubicBezTo>
                    <a:cubicBezTo>
                      <a:pt x="1111" y="858"/>
                      <a:pt x="1112" y="859"/>
                      <a:pt x="1118" y="867"/>
                    </a:cubicBezTo>
                    <a:cubicBezTo>
                      <a:pt x="1121" y="868"/>
                      <a:pt x="1125" y="871"/>
                      <a:pt x="1129" y="878"/>
                    </a:cubicBezTo>
                    <a:cubicBezTo>
                      <a:pt x="1126" y="885"/>
                      <a:pt x="1142" y="896"/>
                      <a:pt x="1150" y="906"/>
                    </a:cubicBezTo>
                    <a:cubicBezTo>
                      <a:pt x="1171" y="910"/>
                      <a:pt x="1190" y="924"/>
                      <a:pt x="1213" y="917"/>
                    </a:cubicBezTo>
                    <a:cubicBezTo>
                      <a:pt x="1224" y="913"/>
                      <a:pt x="1227" y="926"/>
                      <a:pt x="1242" y="926"/>
                    </a:cubicBezTo>
                    <a:cubicBezTo>
                      <a:pt x="1249" y="937"/>
                      <a:pt x="1272" y="928"/>
                      <a:pt x="1271" y="937"/>
                    </a:cubicBezTo>
                    <a:cubicBezTo>
                      <a:pt x="1262" y="946"/>
                      <a:pt x="1251" y="959"/>
                      <a:pt x="1265" y="970"/>
                    </a:cubicBezTo>
                    <a:cubicBezTo>
                      <a:pt x="1280" y="983"/>
                      <a:pt x="1266" y="985"/>
                      <a:pt x="1269" y="996"/>
                    </a:cubicBezTo>
                    <a:cubicBezTo>
                      <a:pt x="1275" y="1010"/>
                      <a:pt x="1282" y="1013"/>
                      <a:pt x="1301" y="1012"/>
                    </a:cubicBezTo>
                    <a:cubicBezTo>
                      <a:pt x="1294" y="1021"/>
                      <a:pt x="1296" y="1027"/>
                      <a:pt x="1316" y="1023"/>
                    </a:cubicBezTo>
                    <a:cubicBezTo>
                      <a:pt x="1323" y="1031"/>
                      <a:pt x="1340" y="1025"/>
                      <a:pt x="1335" y="1035"/>
                    </a:cubicBezTo>
                    <a:cubicBezTo>
                      <a:pt x="1321" y="1044"/>
                      <a:pt x="1352" y="1050"/>
                      <a:pt x="1353" y="1056"/>
                    </a:cubicBezTo>
                    <a:cubicBezTo>
                      <a:pt x="1349" y="1074"/>
                      <a:pt x="1383" y="1068"/>
                      <a:pt x="1393" y="1078"/>
                    </a:cubicBezTo>
                    <a:cubicBezTo>
                      <a:pt x="1394" y="1078"/>
                      <a:pt x="1394" y="1078"/>
                      <a:pt x="1394" y="1078"/>
                    </a:cubicBezTo>
                    <a:cubicBezTo>
                      <a:pt x="1395" y="1076"/>
                      <a:pt x="1396" y="1072"/>
                      <a:pt x="1396" y="1069"/>
                    </a:cubicBezTo>
                    <a:cubicBezTo>
                      <a:pt x="1398" y="1057"/>
                      <a:pt x="1408" y="1038"/>
                      <a:pt x="1420" y="1052"/>
                    </a:cubicBezTo>
                    <a:cubicBezTo>
                      <a:pt x="1431" y="1066"/>
                      <a:pt x="1442" y="1040"/>
                      <a:pt x="1448" y="1034"/>
                    </a:cubicBezTo>
                    <a:cubicBezTo>
                      <a:pt x="1455" y="1014"/>
                      <a:pt x="1451" y="991"/>
                      <a:pt x="1457" y="971"/>
                    </a:cubicBezTo>
                    <a:cubicBezTo>
                      <a:pt x="1454" y="959"/>
                      <a:pt x="1431" y="950"/>
                      <a:pt x="1444" y="938"/>
                    </a:cubicBezTo>
                    <a:cubicBezTo>
                      <a:pt x="1457" y="930"/>
                      <a:pt x="1459" y="915"/>
                      <a:pt x="1474" y="928"/>
                    </a:cubicBezTo>
                    <a:cubicBezTo>
                      <a:pt x="1486" y="936"/>
                      <a:pt x="1481" y="950"/>
                      <a:pt x="1493" y="958"/>
                    </a:cubicBezTo>
                    <a:cubicBezTo>
                      <a:pt x="1505" y="961"/>
                      <a:pt x="1504" y="932"/>
                      <a:pt x="1513" y="922"/>
                    </a:cubicBezTo>
                    <a:cubicBezTo>
                      <a:pt x="1526" y="912"/>
                      <a:pt x="1516" y="902"/>
                      <a:pt x="1505" y="901"/>
                    </a:cubicBezTo>
                    <a:cubicBezTo>
                      <a:pt x="1490" y="897"/>
                      <a:pt x="1475" y="883"/>
                      <a:pt x="1490" y="870"/>
                    </a:cubicBezTo>
                    <a:cubicBezTo>
                      <a:pt x="1505" y="860"/>
                      <a:pt x="1480" y="845"/>
                      <a:pt x="1492" y="839"/>
                    </a:cubicBezTo>
                    <a:cubicBezTo>
                      <a:pt x="1497" y="833"/>
                      <a:pt x="1504" y="826"/>
                      <a:pt x="1507" y="816"/>
                    </a:cubicBezTo>
                    <a:cubicBezTo>
                      <a:pt x="1511" y="802"/>
                      <a:pt x="1519" y="797"/>
                      <a:pt x="1531" y="788"/>
                    </a:cubicBezTo>
                    <a:cubicBezTo>
                      <a:pt x="1532" y="780"/>
                      <a:pt x="1540" y="767"/>
                      <a:pt x="1545" y="756"/>
                    </a:cubicBezTo>
                    <a:cubicBezTo>
                      <a:pt x="1543" y="742"/>
                      <a:pt x="1563" y="732"/>
                      <a:pt x="1548" y="723"/>
                    </a:cubicBezTo>
                    <a:cubicBezTo>
                      <a:pt x="1550" y="710"/>
                      <a:pt x="1535" y="706"/>
                      <a:pt x="1540" y="694"/>
                    </a:cubicBezTo>
                    <a:cubicBezTo>
                      <a:pt x="1539" y="677"/>
                      <a:pt x="1522" y="664"/>
                      <a:pt x="1510" y="653"/>
                    </a:cubicBezTo>
                    <a:cubicBezTo>
                      <a:pt x="1502" y="641"/>
                      <a:pt x="1505" y="642"/>
                      <a:pt x="1513" y="645"/>
                    </a:cubicBezTo>
                    <a:cubicBezTo>
                      <a:pt x="1520" y="641"/>
                      <a:pt x="1526" y="641"/>
                      <a:pt x="1527" y="642"/>
                    </a:cubicBezTo>
                    <a:cubicBezTo>
                      <a:pt x="1533" y="643"/>
                      <a:pt x="1538" y="645"/>
                      <a:pt x="1542" y="648"/>
                    </a:cubicBezTo>
                    <a:cubicBezTo>
                      <a:pt x="1546" y="649"/>
                      <a:pt x="1555" y="653"/>
                      <a:pt x="1559" y="657"/>
                    </a:cubicBezTo>
                    <a:cubicBezTo>
                      <a:pt x="1563" y="655"/>
                      <a:pt x="1569" y="654"/>
                      <a:pt x="1566" y="654"/>
                    </a:cubicBezTo>
                    <a:cubicBezTo>
                      <a:pt x="1573" y="650"/>
                      <a:pt x="1581" y="640"/>
                      <a:pt x="1580" y="644"/>
                    </a:cubicBezTo>
                    <a:cubicBezTo>
                      <a:pt x="1585" y="647"/>
                      <a:pt x="1600" y="639"/>
                      <a:pt x="1607" y="649"/>
                    </a:cubicBezTo>
                    <a:cubicBezTo>
                      <a:pt x="1615" y="660"/>
                      <a:pt x="1631" y="662"/>
                      <a:pt x="1639" y="668"/>
                    </a:cubicBezTo>
                    <a:cubicBezTo>
                      <a:pt x="1648" y="676"/>
                      <a:pt x="1659" y="665"/>
                      <a:pt x="1658" y="655"/>
                    </a:cubicBezTo>
                    <a:cubicBezTo>
                      <a:pt x="1648" y="645"/>
                      <a:pt x="1657" y="640"/>
                      <a:pt x="1672" y="636"/>
                    </a:cubicBezTo>
                    <a:cubicBezTo>
                      <a:pt x="1682" y="646"/>
                      <a:pt x="1682" y="635"/>
                      <a:pt x="1690" y="631"/>
                    </a:cubicBezTo>
                    <a:cubicBezTo>
                      <a:pt x="1697" y="621"/>
                      <a:pt x="1708" y="631"/>
                      <a:pt x="1716" y="629"/>
                    </a:cubicBezTo>
                    <a:cubicBezTo>
                      <a:pt x="1723" y="628"/>
                      <a:pt x="1739" y="631"/>
                      <a:pt x="1744" y="623"/>
                    </a:cubicBezTo>
                    <a:cubicBezTo>
                      <a:pt x="1746" y="616"/>
                      <a:pt x="1751" y="604"/>
                      <a:pt x="1765" y="607"/>
                    </a:cubicBezTo>
                    <a:cubicBezTo>
                      <a:pt x="1778" y="606"/>
                      <a:pt x="1782" y="613"/>
                      <a:pt x="1791" y="614"/>
                    </a:cubicBezTo>
                    <a:cubicBezTo>
                      <a:pt x="1813" y="617"/>
                      <a:pt x="1832" y="619"/>
                      <a:pt x="1854" y="620"/>
                    </a:cubicBezTo>
                    <a:cubicBezTo>
                      <a:pt x="1855" y="639"/>
                      <a:pt x="1871" y="641"/>
                      <a:pt x="1879" y="646"/>
                    </a:cubicBezTo>
                    <a:cubicBezTo>
                      <a:pt x="1889" y="645"/>
                      <a:pt x="1915" y="644"/>
                      <a:pt x="1908" y="633"/>
                    </a:cubicBezTo>
                    <a:close/>
                    <a:moveTo>
                      <a:pt x="180" y="530"/>
                    </a:moveTo>
                    <a:cubicBezTo>
                      <a:pt x="189" y="530"/>
                      <a:pt x="189" y="530"/>
                      <a:pt x="189" y="530"/>
                    </a:cubicBezTo>
                    <a:cubicBezTo>
                      <a:pt x="200" y="552"/>
                      <a:pt x="200" y="552"/>
                      <a:pt x="200" y="552"/>
                    </a:cubicBezTo>
                    <a:cubicBezTo>
                      <a:pt x="207" y="553"/>
                      <a:pt x="207" y="553"/>
                      <a:pt x="207" y="553"/>
                    </a:cubicBezTo>
                    <a:cubicBezTo>
                      <a:pt x="209" y="561"/>
                      <a:pt x="209" y="561"/>
                      <a:pt x="209" y="561"/>
                    </a:cubicBezTo>
                    <a:cubicBezTo>
                      <a:pt x="211" y="569"/>
                      <a:pt x="211" y="569"/>
                      <a:pt x="211" y="569"/>
                    </a:cubicBezTo>
                    <a:cubicBezTo>
                      <a:pt x="225" y="579"/>
                      <a:pt x="225" y="579"/>
                      <a:pt x="225" y="579"/>
                    </a:cubicBezTo>
                    <a:cubicBezTo>
                      <a:pt x="232" y="574"/>
                      <a:pt x="232" y="574"/>
                      <a:pt x="232" y="574"/>
                    </a:cubicBezTo>
                    <a:cubicBezTo>
                      <a:pt x="233" y="573"/>
                      <a:pt x="233" y="573"/>
                      <a:pt x="233" y="573"/>
                    </a:cubicBezTo>
                    <a:cubicBezTo>
                      <a:pt x="241" y="571"/>
                      <a:pt x="241" y="571"/>
                      <a:pt x="241" y="571"/>
                    </a:cubicBezTo>
                    <a:cubicBezTo>
                      <a:pt x="244" y="548"/>
                      <a:pt x="244" y="548"/>
                      <a:pt x="244" y="548"/>
                    </a:cubicBezTo>
                    <a:cubicBezTo>
                      <a:pt x="232" y="523"/>
                      <a:pt x="232" y="523"/>
                      <a:pt x="232" y="523"/>
                    </a:cubicBezTo>
                    <a:cubicBezTo>
                      <a:pt x="227" y="514"/>
                      <a:pt x="227" y="514"/>
                      <a:pt x="227" y="514"/>
                    </a:cubicBezTo>
                    <a:cubicBezTo>
                      <a:pt x="204" y="501"/>
                      <a:pt x="204" y="501"/>
                      <a:pt x="204" y="501"/>
                    </a:cubicBezTo>
                    <a:cubicBezTo>
                      <a:pt x="195" y="505"/>
                      <a:pt x="195" y="505"/>
                      <a:pt x="195" y="505"/>
                    </a:cubicBezTo>
                    <a:cubicBezTo>
                      <a:pt x="181" y="523"/>
                      <a:pt x="181" y="523"/>
                      <a:pt x="181" y="523"/>
                    </a:cubicBezTo>
                    <a:cubicBezTo>
                      <a:pt x="175" y="523"/>
                      <a:pt x="175" y="523"/>
                      <a:pt x="175" y="523"/>
                    </a:cubicBezTo>
                    <a:cubicBezTo>
                      <a:pt x="176" y="527"/>
                      <a:pt x="176" y="527"/>
                      <a:pt x="176" y="527"/>
                    </a:cubicBezTo>
                    <a:lnTo>
                      <a:pt x="180" y="530"/>
                    </a:lnTo>
                    <a:close/>
                  </a:path>
                </a:pathLst>
              </a:custGeom>
              <a:solidFill>
                <a:srgbClr val="0000B4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0" name="Freeform 15">
                <a:extLst>
                  <a:ext uri="{FF2B5EF4-FFF2-40B4-BE49-F238E27FC236}">
                    <a16:creationId xmlns:a16="http://schemas.microsoft.com/office/drawing/2014/main" id="{0971F581-7EC0-48DE-B71D-99217C43CF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33976" y="3021014"/>
                <a:ext cx="2643188" cy="2376489"/>
              </a:xfrm>
              <a:custGeom>
                <a:avLst/>
                <a:gdLst>
                  <a:gd name="T0" fmla="*/ 1 w 1577"/>
                  <a:gd name="T1" fmla="*/ 319 h 1422"/>
                  <a:gd name="T2" fmla="*/ 33 w 1577"/>
                  <a:gd name="T3" fmla="*/ 272 h 1422"/>
                  <a:gd name="T4" fmla="*/ 4 w 1577"/>
                  <a:gd name="T5" fmla="*/ 183 h 1422"/>
                  <a:gd name="T6" fmla="*/ 17 w 1577"/>
                  <a:gd name="T7" fmla="*/ 120 h 1422"/>
                  <a:gd name="T8" fmla="*/ 63 w 1577"/>
                  <a:gd name="T9" fmla="*/ 95 h 1422"/>
                  <a:gd name="T10" fmla="*/ 87 w 1577"/>
                  <a:gd name="T11" fmla="*/ 77 h 1422"/>
                  <a:gd name="T12" fmla="*/ 145 w 1577"/>
                  <a:gd name="T13" fmla="*/ 48 h 1422"/>
                  <a:gd name="T14" fmla="*/ 225 w 1577"/>
                  <a:gd name="T15" fmla="*/ 24 h 1422"/>
                  <a:gd name="T16" fmla="*/ 372 w 1577"/>
                  <a:gd name="T17" fmla="*/ 45 h 1422"/>
                  <a:gd name="T18" fmla="*/ 458 w 1577"/>
                  <a:gd name="T19" fmla="*/ 89 h 1422"/>
                  <a:gd name="T20" fmla="*/ 488 w 1577"/>
                  <a:gd name="T21" fmla="*/ 20 h 1422"/>
                  <a:gd name="T22" fmla="*/ 572 w 1577"/>
                  <a:gd name="T23" fmla="*/ 130 h 1422"/>
                  <a:gd name="T24" fmla="*/ 897 w 1577"/>
                  <a:gd name="T25" fmla="*/ 62 h 1422"/>
                  <a:gd name="T26" fmla="*/ 1134 w 1577"/>
                  <a:gd name="T27" fmla="*/ 72 h 1422"/>
                  <a:gd name="T28" fmla="*/ 1300 w 1577"/>
                  <a:gd name="T29" fmla="*/ 113 h 1422"/>
                  <a:gd name="T30" fmla="*/ 1541 w 1577"/>
                  <a:gd name="T31" fmla="*/ 104 h 1422"/>
                  <a:gd name="T32" fmla="*/ 1465 w 1577"/>
                  <a:gd name="T33" fmla="*/ 338 h 1422"/>
                  <a:gd name="T34" fmla="*/ 1316 w 1577"/>
                  <a:gd name="T35" fmla="*/ 514 h 1422"/>
                  <a:gd name="T36" fmla="*/ 1447 w 1577"/>
                  <a:gd name="T37" fmla="*/ 745 h 1422"/>
                  <a:gd name="T38" fmla="*/ 1439 w 1577"/>
                  <a:gd name="T39" fmla="*/ 905 h 1422"/>
                  <a:gd name="T40" fmla="*/ 1414 w 1577"/>
                  <a:gd name="T41" fmla="*/ 1016 h 1422"/>
                  <a:gd name="T42" fmla="*/ 1334 w 1577"/>
                  <a:gd name="T43" fmla="*/ 1144 h 1422"/>
                  <a:gd name="T44" fmla="*/ 1070 w 1577"/>
                  <a:gd name="T45" fmla="*/ 1240 h 1422"/>
                  <a:gd name="T46" fmla="*/ 985 w 1577"/>
                  <a:gd name="T47" fmla="*/ 1278 h 1422"/>
                  <a:gd name="T48" fmla="*/ 895 w 1577"/>
                  <a:gd name="T49" fmla="*/ 1299 h 1422"/>
                  <a:gd name="T50" fmla="*/ 878 w 1577"/>
                  <a:gd name="T51" fmla="*/ 1299 h 1422"/>
                  <a:gd name="T52" fmla="*/ 876 w 1577"/>
                  <a:gd name="T53" fmla="*/ 1306 h 1422"/>
                  <a:gd name="T54" fmla="*/ 808 w 1577"/>
                  <a:gd name="T55" fmla="*/ 1404 h 1422"/>
                  <a:gd name="T56" fmla="*/ 739 w 1577"/>
                  <a:gd name="T57" fmla="*/ 1391 h 1422"/>
                  <a:gd name="T58" fmla="*/ 805 w 1577"/>
                  <a:gd name="T59" fmla="*/ 1197 h 1422"/>
                  <a:gd name="T60" fmla="*/ 847 w 1577"/>
                  <a:gd name="T61" fmla="*/ 1007 h 1422"/>
                  <a:gd name="T62" fmla="*/ 831 w 1577"/>
                  <a:gd name="T63" fmla="*/ 907 h 1422"/>
                  <a:gd name="T64" fmla="*/ 834 w 1577"/>
                  <a:gd name="T65" fmla="*/ 825 h 1422"/>
                  <a:gd name="T66" fmla="*/ 930 w 1577"/>
                  <a:gd name="T67" fmla="*/ 735 h 1422"/>
                  <a:gd name="T68" fmla="*/ 846 w 1577"/>
                  <a:gd name="T69" fmla="*/ 624 h 1422"/>
                  <a:gd name="T70" fmla="*/ 734 w 1577"/>
                  <a:gd name="T71" fmla="*/ 605 h 1422"/>
                  <a:gd name="T72" fmla="*/ 665 w 1577"/>
                  <a:gd name="T73" fmla="*/ 743 h 1422"/>
                  <a:gd name="T74" fmla="*/ 634 w 1577"/>
                  <a:gd name="T75" fmla="*/ 781 h 1422"/>
                  <a:gd name="T76" fmla="*/ 573 w 1577"/>
                  <a:gd name="T77" fmla="*/ 796 h 1422"/>
                  <a:gd name="T78" fmla="*/ 525 w 1577"/>
                  <a:gd name="T79" fmla="*/ 833 h 1422"/>
                  <a:gd name="T80" fmla="*/ 449 w 1577"/>
                  <a:gd name="T81" fmla="*/ 734 h 1422"/>
                  <a:gd name="T82" fmla="*/ 430 w 1577"/>
                  <a:gd name="T83" fmla="*/ 739 h 1422"/>
                  <a:gd name="T84" fmla="*/ 388 w 1577"/>
                  <a:gd name="T85" fmla="*/ 701 h 1422"/>
                  <a:gd name="T86" fmla="*/ 319 w 1577"/>
                  <a:gd name="T87" fmla="*/ 702 h 1422"/>
                  <a:gd name="T88" fmla="*/ 255 w 1577"/>
                  <a:gd name="T89" fmla="*/ 663 h 1422"/>
                  <a:gd name="T90" fmla="*/ 225 w 1577"/>
                  <a:gd name="T91" fmla="*/ 664 h 1422"/>
                  <a:gd name="T92" fmla="*/ 204 w 1577"/>
                  <a:gd name="T93" fmla="*/ 657 h 1422"/>
                  <a:gd name="T94" fmla="*/ 178 w 1577"/>
                  <a:gd name="T95" fmla="*/ 558 h 1422"/>
                  <a:gd name="T96" fmla="*/ 162 w 1577"/>
                  <a:gd name="T97" fmla="*/ 467 h 1422"/>
                  <a:gd name="T98" fmla="*/ 159 w 1577"/>
                  <a:gd name="T99" fmla="*/ 404 h 1422"/>
                  <a:gd name="T100" fmla="*/ 138 w 1577"/>
                  <a:gd name="T101" fmla="*/ 401 h 1422"/>
                  <a:gd name="T102" fmla="*/ 93 w 1577"/>
                  <a:gd name="T103" fmla="*/ 359 h 1422"/>
                  <a:gd name="T104" fmla="*/ 61 w 1577"/>
                  <a:gd name="T105" fmla="*/ 326 h 1422"/>
                  <a:gd name="T106" fmla="*/ 54 w 1577"/>
                  <a:gd name="T107" fmla="*/ 279 h 1422"/>
                  <a:gd name="T108" fmla="*/ 55 w 1577"/>
                  <a:gd name="T109" fmla="*/ 339 h 1422"/>
                  <a:gd name="T110" fmla="*/ 556 w 1577"/>
                  <a:gd name="T111" fmla="*/ 843 h 1422"/>
                  <a:gd name="T112" fmla="*/ 534 w 1577"/>
                  <a:gd name="T113" fmla="*/ 888 h 1422"/>
                  <a:gd name="T114" fmla="*/ 395 w 1577"/>
                  <a:gd name="T115" fmla="*/ 1031 h 1422"/>
                  <a:gd name="T116" fmla="*/ 433 w 1577"/>
                  <a:gd name="T117" fmla="*/ 1025 h 1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7" h="1422">
                    <a:moveTo>
                      <a:pt x="34" y="326"/>
                    </a:moveTo>
                    <a:cubicBezTo>
                      <a:pt x="23" y="337"/>
                      <a:pt x="23" y="337"/>
                      <a:pt x="23" y="337"/>
                    </a:cubicBezTo>
                    <a:cubicBezTo>
                      <a:pt x="22" y="346"/>
                      <a:pt x="22" y="346"/>
                      <a:pt x="22" y="346"/>
                    </a:cubicBezTo>
                    <a:cubicBezTo>
                      <a:pt x="17" y="339"/>
                      <a:pt x="17" y="339"/>
                      <a:pt x="17" y="339"/>
                    </a:cubicBezTo>
                    <a:cubicBezTo>
                      <a:pt x="18" y="332"/>
                      <a:pt x="18" y="332"/>
                      <a:pt x="18" y="332"/>
                    </a:cubicBezTo>
                    <a:cubicBezTo>
                      <a:pt x="15" y="328"/>
                      <a:pt x="15" y="328"/>
                      <a:pt x="15" y="328"/>
                    </a:cubicBezTo>
                    <a:cubicBezTo>
                      <a:pt x="10" y="330"/>
                      <a:pt x="10" y="330"/>
                      <a:pt x="10" y="330"/>
                    </a:cubicBezTo>
                    <a:cubicBezTo>
                      <a:pt x="4" y="326"/>
                      <a:pt x="4" y="326"/>
                      <a:pt x="4" y="326"/>
                    </a:cubicBezTo>
                    <a:cubicBezTo>
                      <a:pt x="3" y="322"/>
                      <a:pt x="3" y="322"/>
                      <a:pt x="3" y="322"/>
                    </a:cubicBezTo>
                    <a:cubicBezTo>
                      <a:pt x="1" y="319"/>
                      <a:pt x="1" y="319"/>
                      <a:pt x="1" y="319"/>
                    </a:cubicBezTo>
                    <a:cubicBezTo>
                      <a:pt x="4" y="310"/>
                      <a:pt x="4" y="310"/>
                      <a:pt x="4" y="310"/>
                    </a:cubicBezTo>
                    <a:cubicBezTo>
                      <a:pt x="12" y="305"/>
                      <a:pt x="12" y="305"/>
                      <a:pt x="12" y="305"/>
                    </a:cubicBezTo>
                    <a:cubicBezTo>
                      <a:pt x="19" y="305"/>
                      <a:pt x="19" y="305"/>
                      <a:pt x="19" y="305"/>
                    </a:cubicBezTo>
                    <a:cubicBezTo>
                      <a:pt x="21" y="292"/>
                      <a:pt x="21" y="292"/>
                      <a:pt x="21" y="292"/>
                    </a:cubicBezTo>
                    <a:cubicBezTo>
                      <a:pt x="22" y="292"/>
                      <a:pt x="22" y="292"/>
                      <a:pt x="22" y="292"/>
                    </a:cubicBezTo>
                    <a:cubicBezTo>
                      <a:pt x="27" y="283"/>
                      <a:pt x="27" y="283"/>
                      <a:pt x="27" y="283"/>
                    </a:cubicBezTo>
                    <a:cubicBezTo>
                      <a:pt x="30" y="282"/>
                      <a:pt x="30" y="282"/>
                      <a:pt x="30" y="282"/>
                    </a:cubicBezTo>
                    <a:cubicBezTo>
                      <a:pt x="34" y="280"/>
                      <a:pt x="34" y="280"/>
                      <a:pt x="34" y="280"/>
                    </a:cubicBezTo>
                    <a:cubicBezTo>
                      <a:pt x="34" y="276"/>
                      <a:pt x="34" y="276"/>
                      <a:pt x="34" y="276"/>
                    </a:cubicBezTo>
                    <a:cubicBezTo>
                      <a:pt x="33" y="272"/>
                      <a:pt x="33" y="272"/>
                      <a:pt x="33" y="272"/>
                    </a:cubicBezTo>
                    <a:cubicBezTo>
                      <a:pt x="26" y="275"/>
                      <a:pt x="26" y="275"/>
                      <a:pt x="26" y="275"/>
                    </a:cubicBezTo>
                    <a:cubicBezTo>
                      <a:pt x="24" y="272"/>
                      <a:pt x="24" y="272"/>
                      <a:pt x="24" y="272"/>
                    </a:cubicBezTo>
                    <a:cubicBezTo>
                      <a:pt x="28" y="256"/>
                      <a:pt x="28" y="256"/>
                      <a:pt x="28" y="256"/>
                    </a:cubicBezTo>
                    <a:cubicBezTo>
                      <a:pt x="21" y="243"/>
                      <a:pt x="21" y="243"/>
                      <a:pt x="21" y="243"/>
                    </a:cubicBezTo>
                    <a:cubicBezTo>
                      <a:pt x="18" y="225"/>
                      <a:pt x="18" y="225"/>
                      <a:pt x="18" y="225"/>
                    </a:cubicBezTo>
                    <a:cubicBezTo>
                      <a:pt x="14" y="214"/>
                      <a:pt x="14" y="214"/>
                      <a:pt x="14" y="214"/>
                    </a:cubicBezTo>
                    <a:cubicBezTo>
                      <a:pt x="15" y="202"/>
                      <a:pt x="15" y="202"/>
                      <a:pt x="15" y="202"/>
                    </a:cubicBezTo>
                    <a:cubicBezTo>
                      <a:pt x="9" y="192"/>
                      <a:pt x="9" y="192"/>
                      <a:pt x="9" y="192"/>
                    </a:cubicBezTo>
                    <a:cubicBezTo>
                      <a:pt x="11" y="186"/>
                      <a:pt x="11" y="186"/>
                      <a:pt x="11" y="186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4" y="178"/>
                      <a:pt x="4" y="178"/>
                      <a:pt x="4" y="178"/>
                    </a:cubicBezTo>
                    <a:cubicBezTo>
                      <a:pt x="9" y="170"/>
                      <a:pt x="9" y="170"/>
                      <a:pt x="9" y="170"/>
                    </a:cubicBezTo>
                    <a:cubicBezTo>
                      <a:pt x="9" y="157"/>
                      <a:pt x="9" y="157"/>
                      <a:pt x="9" y="157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0" y="136"/>
                      <a:pt x="0" y="136"/>
                      <a:pt x="0" y="136"/>
                    </a:cubicBezTo>
                    <a:cubicBezTo>
                      <a:pt x="1" y="132"/>
                      <a:pt x="1" y="132"/>
                      <a:pt x="1" y="132"/>
                    </a:cubicBezTo>
                    <a:cubicBezTo>
                      <a:pt x="6" y="130"/>
                      <a:pt x="6" y="130"/>
                      <a:pt x="6" y="130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9" y="112"/>
                      <a:pt x="9" y="112"/>
                      <a:pt x="9" y="112"/>
                    </a:cubicBezTo>
                    <a:cubicBezTo>
                      <a:pt x="13" y="108"/>
                      <a:pt x="13" y="108"/>
                      <a:pt x="13" y="108"/>
                    </a:cubicBezTo>
                    <a:cubicBezTo>
                      <a:pt x="18" y="105"/>
                      <a:pt x="18" y="105"/>
                      <a:pt x="18" y="105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30" y="115"/>
                      <a:pt x="30" y="115"/>
                      <a:pt x="30" y="115"/>
                    </a:cubicBezTo>
                    <a:cubicBezTo>
                      <a:pt x="47" y="106"/>
                      <a:pt x="47" y="106"/>
                      <a:pt x="47" y="106"/>
                    </a:cubicBezTo>
                    <a:cubicBezTo>
                      <a:pt x="62" y="105"/>
                      <a:pt x="62" y="105"/>
                      <a:pt x="62" y="105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3" y="95"/>
                      <a:pt x="63" y="95"/>
                      <a:pt x="63" y="95"/>
                    </a:cubicBezTo>
                    <a:cubicBezTo>
                      <a:pt x="53" y="91"/>
                      <a:pt x="53" y="91"/>
                      <a:pt x="53" y="9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71"/>
                      <a:pt x="29" y="71"/>
                      <a:pt x="29" y="71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59" y="69"/>
                      <a:pt x="59" y="69"/>
                      <a:pt x="59" y="69"/>
                    </a:cubicBezTo>
                    <a:cubicBezTo>
                      <a:pt x="59" y="69"/>
                      <a:pt x="59" y="69"/>
                      <a:pt x="59" y="69"/>
                    </a:cubicBezTo>
                    <a:cubicBezTo>
                      <a:pt x="66" y="73"/>
                      <a:pt x="66" y="73"/>
                      <a:pt x="66" y="73"/>
                    </a:cubicBezTo>
                    <a:cubicBezTo>
                      <a:pt x="87" y="77"/>
                      <a:pt x="87" y="77"/>
                      <a:pt x="87" y="77"/>
                    </a:cubicBezTo>
                    <a:cubicBezTo>
                      <a:pt x="92" y="72"/>
                      <a:pt x="92" y="72"/>
                      <a:pt x="92" y="72"/>
                    </a:cubicBezTo>
                    <a:cubicBezTo>
                      <a:pt x="109" y="66"/>
                      <a:pt x="109" y="66"/>
                      <a:pt x="109" y="66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30" y="69"/>
                      <a:pt x="130" y="69"/>
                      <a:pt x="130" y="69"/>
                    </a:cubicBezTo>
                    <a:cubicBezTo>
                      <a:pt x="137" y="72"/>
                      <a:pt x="137" y="72"/>
                      <a:pt x="137" y="72"/>
                    </a:cubicBezTo>
                    <a:cubicBezTo>
                      <a:pt x="142" y="67"/>
                      <a:pt x="142" y="67"/>
                      <a:pt x="142" y="67"/>
                    </a:cubicBezTo>
                    <a:cubicBezTo>
                      <a:pt x="136" y="60"/>
                      <a:pt x="136" y="60"/>
                      <a:pt x="136" y="60"/>
                    </a:cubicBezTo>
                    <a:cubicBezTo>
                      <a:pt x="136" y="53"/>
                      <a:pt x="136" y="53"/>
                      <a:pt x="136" y="53"/>
                    </a:cubicBezTo>
                    <a:cubicBezTo>
                      <a:pt x="140" y="47"/>
                      <a:pt x="140" y="47"/>
                      <a:pt x="140" y="47"/>
                    </a:cubicBezTo>
                    <a:cubicBezTo>
                      <a:pt x="145" y="48"/>
                      <a:pt x="145" y="48"/>
                      <a:pt x="145" y="48"/>
                    </a:cubicBezTo>
                    <a:cubicBezTo>
                      <a:pt x="151" y="42"/>
                      <a:pt x="151" y="42"/>
                      <a:pt x="151" y="42"/>
                    </a:cubicBezTo>
                    <a:cubicBezTo>
                      <a:pt x="161" y="46"/>
                      <a:pt x="161" y="46"/>
                      <a:pt x="161" y="46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73" y="43"/>
                      <a:pt x="173" y="43"/>
                      <a:pt x="173" y="43"/>
                    </a:cubicBezTo>
                    <a:cubicBezTo>
                      <a:pt x="184" y="51"/>
                      <a:pt x="184" y="51"/>
                      <a:pt x="184" y="51"/>
                    </a:cubicBezTo>
                    <a:cubicBezTo>
                      <a:pt x="199" y="45"/>
                      <a:pt x="199" y="45"/>
                      <a:pt x="199" y="45"/>
                    </a:cubicBezTo>
                    <a:cubicBezTo>
                      <a:pt x="219" y="43"/>
                      <a:pt x="219" y="43"/>
                      <a:pt x="219" y="43"/>
                    </a:cubicBezTo>
                    <a:cubicBezTo>
                      <a:pt x="218" y="38"/>
                      <a:pt x="218" y="38"/>
                      <a:pt x="218" y="38"/>
                    </a:cubicBezTo>
                    <a:cubicBezTo>
                      <a:pt x="225" y="30"/>
                      <a:pt x="225" y="30"/>
                      <a:pt x="225" y="30"/>
                    </a:cubicBezTo>
                    <a:cubicBezTo>
                      <a:pt x="225" y="24"/>
                      <a:pt x="225" y="24"/>
                      <a:pt x="225" y="24"/>
                    </a:cubicBezTo>
                    <a:cubicBezTo>
                      <a:pt x="219" y="14"/>
                      <a:pt x="219" y="14"/>
                      <a:pt x="219" y="14"/>
                    </a:cubicBezTo>
                    <a:cubicBezTo>
                      <a:pt x="219" y="11"/>
                      <a:pt x="219" y="11"/>
                      <a:pt x="219" y="11"/>
                    </a:cubicBezTo>
                    <a:cubicBezTo>
                      <a:pt x="221" y="11"/>
                      <a:pt x="221" y="11"/>
                      <a:pt x="221" y="11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60" y="0"/>
                      <a:pt x="260" y="0"/>
                      <a:pt x="260" y="0"/>
                    </a:cubicBezTo>
                    <a:cubicBezTo>
                      <a:pt x="307" y="6"/>
                      <a:pt x="307" y="6"/>
                      <a:pt x="307" y="6"/>
                    </a:cubicBezTo>
                    <a:cubicBezTo>
                      <a:pt x="333" y="20"/>
                      <a:pt x="333" y="20"/>
                      <a:pt x="333" y="20"/>
                    </a:cubicBezTo>
                    <a:cubicBezTo>
                      <a:pt x="361" y="42"/>
                      <a:pt x="361" y="42"/>
                      <a:pt x="361" y="42"/>
                    </a:cubicBezTo>
                    <a:cubicBezTo>
                      <a:pt x="361" y="42"/>
                      <a:pt x="362" y="43"/>
                      <a:pt x="363" y="43"/>
                    </a:cubicBezTo>
                    <a:cubicBezTo>
                      <a:pt x="372" y="45"/>
                      <a:pt x="372" y="45"/>
                      <a:pt x="372" y="45"/>
                    </a:cubicBezTo>
                    <a:cubicBezTo>
                      <a:pt x="373" y="45"/>
                      <a:pt x="374" y="45"/>
                      <a:pt x="375" y="45"/>
                    </a:cubicBezTo>
                    <a:cubicBezTo>
                      <a:pt x="384" y="41"/>
                      <a:pt x="384" y="41"/>
                      <a:pt x="384" y="41"/>
                    </a:cubicBezTo>
                    <a:cubicBezTo>
                      <a:pt x="401" y="42"/>
                      <a:pt x="401" y="42"/>
                      <a:pt x="401" y="42"/>
                    </a:cubicBezTo>
                    <a:cubicBezTo>
                      <a:pt x="407" y="44"/>
                      <a:pt x="407" y="44"/>
                      <a:pt x="407" y="44"/>
                    </a:cubicBezTo>
                    <a:cubicBezTo>
                      <a:pt x="426" y="73"/>
                      <a:pt x="426" y="73"/>
                      <a:pt x="426" y="73"/>
                    </a:cubicBezTo>
                    <a:cubicBezTo>
                      <a:pt x="426" y="74"/>
                      <a:pt x="426" y="74"/>
                      <a:pt x="427" y="74"/>
                    </a:cubicBezTo>
                    <a:cubicBezTo>
                      <a:pt x="441" y="84"/>
                      <a:pt x="441" y="84"/>
                      <a:pt x="441" y="84"/>
                    </a:cubicBezTo>
                    <a:cubicBezTo>
                      <a:pt x="442" y="84"/>
                      <a:pt x="442" y="84"/>
                      <a:pt x="443" y="85"/>
                    </a:cubicBezTo>
                    <a:cubicBezTo>
                      <a:pt x="457" y="88"/>
                      <a:pt x="457" y="88"/>
                      <a:pt x="457" y="88"/>
                    </a:cubicBezTo>
                    <a:cubicBezTo>
                      <a:pt x="458" y="89"/>
                      <a:pt x="458" y="89"/>
                      <a:pt x="458" y="89"/>
                    </a:cubicBezTo>
                    <a:cubicBezTo>
                      <a:pt x="458" y="89"/>
                      <a:pt x="459" y="89"/>
                      <a:pt x="459" y="89"/>
                    </a:cubicBezTo>
                    <a:cubicBezTo>
                      <a:pt x="473" y="87"/>
                      <a:pt x="473" y="87"/>
                      <a:pt x="473" y="87"/>
                    </a:cubicBezTo>
                    <a:cubicBezTo>
                      <a:pt x="474" y="87"/>
                      <a:pt x="475" y="86"/>
                      <a:pt x="476" y="85"/>
                    </a:cubicBezTo>
                    <a:cubicBezTo>
                      <a:pt x="485" y="73"/>
                      <a:pt x="485" y="73"/>
                      <a:pt x="485" y="73"/>
                    </a:cubicBezTo>
                    <a:cubicBezTo>
                      <a:pt x="500" y="63"/>
                      <a:pt x="500" y="63"/>
                      <a:pt x="500" y="63"/>
                    </a:cubicBezTo>
                    <a:cubicBezTo>
                      <a:pt x="501" y="62"/>
                      <a:pt x="501" y="61"/>
                      <a:pt x="501" y="59"/>
                    </a:cubicBezTo>
                    <a:cubicBezTo>
                      <a:pt x="502" y="58"/>
                      <a:pt x="501" y="57"/>
                      <a:pt x="500" y="56"/>
                    </a:cubicBezTo>
                    <a:cubicBezTo>
                      <a:pt x="488" y="41"/>
                      <a:pt x="488" y="41"/>
                      <a:pt x="488" y="41"/>
                    </a:cubicBezTo>
                    <a:cubicBezTo>
                      <a:pt x="485" y="33"/>
                      <a:pt x="485" y="33"/>
                      <a:pt x="485" y="33"/>
                    </a:cubicBezTo>
                    <a:cubicBezTo>
                      <a:pt x="488" y="20"/>
                      <a:pt x="488" y="20"/>
                      <a:pt x="488" y="20"/>
                    </a:cubicBezTo>
                    <a:cubicBezTo>
                      <a:pt x="504" y="21"/>
                      <a:pt x="504" y="21"/>
                      <a:pt x="504" y="21"/>
                    </a:cubicBezTo>
                    <a:cubicBezTo>
                      <a:pt x="505" y="22"/>
                      <a:pt x="505" y="22"/>
                      <a:pt x="505" y="22"/>
                    </a:cubicBezTo>
                    <a:cubicBezTo>
                      <a:pt x="502" y="29"/>
                      <a:pt x="502" y="38"/>
                      <a:pt x="506" y="37"/>
                    </a:cubicBezTo>
                    <a:cubicBezTo>
                      <a:pt x="509" y="42"/>
                      <a:pt x="520" y="52"/>
                      <a:pt x="535" y="41"/>
                    </a:cubicBezTo>
                    <a:cubicBezTo>
                      <a:pt x="538" y="60"/>
                      <a:pt x="555" y="41"/>
                      <a:pt x="564" y="35"/>
                    </a:cubicBezTo>
                    <a:cubicBezTo>
                      <a:pt x="577" y="30"/>
                      <a:pt x="573" y="53"/>
                      <a:pt x="582" y="59"/>
                    </a:cubicBezTo>
                    <a:cubicBezTo>
                      <a:pt x="568" y="60"/>
                      <a:pt x="577" y="75"/>
                      <a:pt x="565" y="85"/>
                    </a:cubicBezTo>
                    <a:cubicBezTo>
                      <a:pt x="562" y="94"/>
                      <a:pt x="557" y="105"/>
                      <a:pt x="553" y="114"/>
                    </a:cubicBezTo>
                    <a:cubicBezTo>
                      <a:pt x="553" y="114"/>
                      <a:pt x="553" y="114"/>
                      <a:pt x="553" y="114"/>
                    </a:cubicBezTo>
                    <a:cubicBezTo>
                      <a:pt x="559" y="118"/>
                      <a:pt x="566" y="127"/>
                      <a:pt x="572" y="130"/>
                    </a:cubicBezTo>
                    <a:cubicBezTo>
                      <a:pt x="585" y="140"/>
                      <a:pt x="595" y="156"/>
                      <a:pt x="613" y="145"/>
                    </a:cubicBezTo>
                    <a:cubicBezTo>
                      <a:pt x="625" y="144"/>
                      <a:pt x="637" y="133"/>
                      <a:pt x="644" y="139"/>
                    </a:cubicBezTo>
                    <a:cubicBezTo>
                      <a:pt x="646" y="146"/>
                      <a:pt x="667" y="143"/>
                      <a:pt x="675" y="155"/>
                    </a:cubicBezTo>
                    <a:cubicBezTo>
                      <a:pt x="696" y="159"/>
                      <a:pt x="720" y="165"/>
                      <a:pt x="741" y="170"/>
                    </a:cubicBezTo>
                    <a:cubicBezTo>
                      <a:pt x="749" y="173"/>
                      <a:pt x="766" y="186"/>
                      <a:pt x="769" y="179"/>
                    </a:cubicBezTo>
                    <a:cubicBezTo>
                      <a:pt x="773" y="170"/>
                      <a:pt x="789" y="159"/>
                      <a:pt x="802" y="158"/>
                    </a:cubicBezTo>
                    <a:cubicBezTo>
                      <a:pt x="804" y="147"/>
                      <a:pt x="824" y="148"/>
                      <a:pt x="832" y="146"/>
                    </a:cubicBezTo>
                    <a:cubicBezTo>
                      <a:pt x="845" y="135"/>
                      <a:pt x="841" y="132"/>
                      <a:pt x="847" y="123"/>
                    </a:cubicBezTo>
                    <a:cubicBezTo>
                      <a:pt x="855" y="111"/>
                      <a:pt x="846" y="91"/>
                      <a:pt x="864" y="86"/>
                    </a:cubicBezTo>
                    <a:cubicBezTo>
                      <a:pt x="878" y="79"/>
                      <a:pt x="894" y="77"/>
                      <a:pt x="897" y="62"/>
                    </a:cubicBezTo>
                    <a:cubicBezTo>
                      <a:pt x="914" y="48"/>
                      <a:pt x="928" y="69"/>
                      <a:pt x="939" y="80"/>
                    </a:cubicBezTo>
                    <a:cubicBezTo>
                      <a:pt x="952" y="90"/>
                      <a:pt x="913" y="98"/>
                      <a:pt x="929" y="103"/>
                    </a:cubicBezTo>
                    <a:cubicBezTo>
                      <a:pt x="924" y="116"/>
                      <a:pt x="955" y="110"/>
                      <a:pt x="962" y="103"/>
                    </a:cubicBezTo>
                    <a:cubicBezTo>
                      <a:pt x="974" y="96"/>
                      <a:pt x="987" y="93"/>
                      <a:pt x="998" y="87"/>
                    </a:cubicBezTo>
                    <a:cubicBezTo>
                      <a:pt x="1016" y="81"/>
                      <a:pt x="1019" y="63"/>
                      <a:pt x="1027" y="49"/>
                    </a:cubicBezTo>
                    <a:cubicBezTo>
                      <a:pt x="1033" y="36"/>
                      <a:pt x="1044" y="46"/>
                      <a:pt x="1047" y="51"/>
                    </a:cubicBezTo>
                    <a:cubicBezTo>
                      <a:pt x="1051" y="49"/>
                      <a:pt x="1060" y="56"/>
                      <a:pt x="1065" y="47"/>
                    </a:cubicBezTo>
                    <a:cubicBezTo>
                      <a:pt x="1074" y="43"/>
                      <a:pt x="1074" y="60"/>
                      <a:pt x="1085" y="59"/>
                    </a:cubicBezTo>
                    <a:cubicBezTo>
                      <a:pt x="1095" y="60"/>
                      <a:pt x="1102" y="73"/>
                      <a:pt x="1115" y="69"/>
                    </a:cubicBezTo>
                    <a:cubicBezTo>
                      <a:pt x="1126" y="58"/>
                      <a:pt x="1136" y="72"/>
                      <a:pt x="1134" y="72"/>
                    </a:cubicBezTo>
                    <a:cubicBezTo>
                      <a:pt x="1141" y="71"/>
                      <a:pt x="1151" y="68"/>
                      <a:pt x="1156" y="58"/>
                    </a:cubicBezTo>
                    <a:cubicBezTo>
                      <a:pt x="1165" y="52"/>
                      <a:pt x="1171" y="41"/>
                      <a:pt x="1184" y="39"/>
                    </a:cubicBezTo>
                    <a:cubicBezTo>
                      <a:pt x="1188" y="29"/>
                      <a:pt x="1207" y="49"/>
                      <a:pt x="1206" y="49"/>
                    </a:cubicBezTo>
                    <a:cubicBezTo>
                      <a:pt x="1214" y="56"/>
                      <a:pt x="1229" y="56"/>
                      <a:pt x="1235" y="69"/>
                    </a:cubicBezTo>
                    <a:cubicBezTo>
                      <a:pt x="1242" y="81"/>
                      <a:pt x="1227" y="93"/>
                      <a:pt x="1229" y="106"/>
                    </a:cubicBezTo>
                    <a:cubicBezTo>
                      <a:pt x="1226" y="121"/>
                      <a:pt x="1225" y="136"/>
                      <a:pt x="1231" y="150"/>
                    </a:cubicBezTo>
                    <a:cubicBezTo>
                      <a:pt x="1236" y="153"/>
                      <a:pt x="1230" y="168"/>
                      <a:pt x="1241" y="175"/>
                    </a:cubicBezTo>
                    <a:cubicBezTo>
                      <a:pt x="1232" y="184"/>
                      <a:pt x="1259" y="181"/>
                      <a:pt x="1260" y="174"/>
                    </a:cubicBezTo>
                    <a:cubicBezTo>
                      <a:pt x="1260" y="156"/>
                      <a:pt x="1275" y="150"/>
                      <a:pt x="1278" y="135"/>
                    </a:cubicBezTo>
                    <a:cubicBezTo>
                      <a:pt x="1278" y="121"/>
                      <a:pt x="1298" y="126"/>
                      <a:pt x="1300" y="113"/>
                    </a:cubicBezTo>
                    <a:cubicBezTo>
                      <a:pt x="1306" y="112"/>
                      <a:pt x="1317" y="100"/>
                      <a:pt x="1328" y="102"/>
                    </a:cubicBezTo>
                    <a:cubicBezTo>
                      <a:pt x="1325" y="110"/>
                      <a:pt x="1338" y="115"/>
                      <a:pt x="1341" y="110"/>
                    </a:cubicBezTo>
                    <a:cubicBezTo>
                      <a:pt x="1346" y="113"/>
                      <a:pt x="1354" y="102"/>
                      <a:pt x="1355" y="100"/>
                    </a:cubicBezTo>
                    <a:cubicBezTo>
                      <a:pt x="1357" y="93"/>
                      <a:pt x="1365" y="83"/>
                      <a:pt x="1368" y="81"/>
                    </a:cubicBezTo>
                    <a:cubicBezTo>
                      <a:pt x="1368" y="80"/>
                      <a:pt x="1369" y="80"/>
                      <a:pt x="1369" y="80"/>
                    </a:cubicBezTo>
                    <a:cubicBezTo>
                      <a:pt x="1377" y="88"/>
                      <a:pt x="1396" y="89"/>
                      <a:pt x="1402" y="86"/>
                    </a:cubicBezTo>
                    <a:cubicBezTo>
                      <a:pt x="1408" y="92"/>
                      <a:pt x="1427" y="90"/>
                      <a:pt x="1438" y="96"/>
                    </a:cubicBezTo>
                    <a:cubicBezTo>
                      <a:pt x="1452" y="95"/>
                      <a:pt x="1470" y="79"/>
                      <a:pt x="1483" y="88"/>
                    </a:cubicBezTo>
                    <a:cubicBezTo>
                      <a:pt x="1496" y="90"/>
                      <a:pt x="1515" y="93"/>
                      <a:pt x="1526" y="91"/>
                    </a:cubicBezTo>
                    <a:cubicBezTo>
                      <a:pt x="1527" y="97"/>
                      <a:pt x="1539" y="91"/>
                      <a:pt x="1541" y="104"/>
                    </a:cubicBezTo>
                    <a:cubicBezTo>
                      <a:pt x="1546" y="96"/>
                      <a:pt x="1562" y="109"/>
                      <a:pt x="1574" y="115"/>
                    </a:cubicBezTo>
                    <a:cubicBezTo>
                      <a:pt x="1577" y="117"/>
                      <a:pt x="1573" y="126"/>
                      <a:pt x="1572" y="127"/>
                    </a:cubicBezTo>
                    <a:cubicBezTo>
                      <a:pt x="1569" y="135"/>
                      <a:pt x="1561" y="154"/>
                      <a:pt x="1556" y="168"/>
                    </a:cubicBezTo>
                    <a:cubicBezTo>
                      <a:pt x="1548" y="188"/>
                      <a:pt x="1539" y="209"/>
                      <a:pt x="1533" y="230"/>
                    </a:cubicBezTo>
                    <a:cubicBezTo>
                      <a:pt x="1531" y="232"/>
                      <a:pt x="1529" y="234"/>
                      <a:pt x="1525" y="236"/>
                    </a:cubicBezTo>
                    <a:cubicBezTo>
                      <a:pt x="1514" y="242"/>
                      <a:pt x="1495" y="243"/>
                      <a:pt x="1496" y="252"/>
                    </a:cubicBezTo>
                    <a:cubicBezTo>
                      <a:pt x="1490" y="268"/>
                      <a:pt x="1494" y="270"/>
                      <a:pt x="1504" y="266"/>
                    </a:cubicBezTo>
                    <a:cubicBezTo>
                      <a:pt x="1507" y="281"/>
                      <a:pt x="1502" y="293"/>
                      <a:pt x="1511" y="304"/>
                    </a:cubicBezTo>
                    <a:cubicBezTo>
                      <a:pt x="1500" y="316"/>
                      <a:pt x="1538" y="325"/>
                      <a:pt x="1508" y="325"/>
                    </a:cubicBezTo>
                    <a:cubicBezTo>
                      <a:pt x="1493" y="327"/>
                      <a:pt x="1472" y="322"/>
                      <a:pt x="1465" y="338"/>
                    </a:cubicBezTo>
                    <a:cubicBezTo>
                      <a:pt x="1482" y="346"/>
                      <a:pt x="1449" y="350"/>
                      <a:pt x="1458" y="364"/>
                    </a:cubicBezTo>
                    <a:cubicBezTo>
                      <a:pt x="1451" y="369"/>
                      <a:pt x="1468" y="376"/>
                      <a:pt x="1449" y="381"/>
                    </a:cubicBezTo>
                    <a:cubicBezTo>
                      <a:pt x="1439" y="397"/>
                      <a:pt x="1446" y="366"/>
                      <a:pt x="1431" y="380"/>
                    </a:cubicBezTo>
                    <a:cubicBezTo>
                      <a:pt x="1421" y="385"/>
                      <a:pt x="1417" y="406"/>
                      <a:pt x="1410" y="397"/>
                    </a:cubicBezTo>
                    <a:cubicBezTo>
                      <a:pt x="1401" y="409"/>
                      <a:pt x="1390" y="407"/>
                      <a:pt x="1381" y="405"/>
                    </a:cubicBezTo>
                    <a:cubicBezTo>
                      <a:pt x="1368" y="406"/>
                      <a:pt x="1375" y="430"/>
                      <a:pt x="1354" y="422"/>
                    </a:cubicBezTo>
                    <a:cubicBezTo>
                      <a:pt x="1339" y="423"/>
                      <a:pt x="1328" y="428"/>
                      <a:pt x="1330" y="444"/>
                    </a:cubicBezTo>
                    <a:cubicBezTo>
                      <a:pt x="1321" y="454"/>
                      <a:pt x="1308" y="458"/>
                      <a:pt x="1314" y="475"/>
                    </a:cubicBezTo>
                    <a:cubicBezTo>
                      <a:pt x="1316" y="488"/>
                      <a:pt x="1315" y="503"/>
                      <a:pt x="1312" y="509"/>
                    </a:cubicBezTo>
                    <a:cubicBezTo>
                      <a:pt x="1313" y="510"/>
                      <a:pt x="1317" y="517"/>
                      <a:pt x="1316" y="514"/>
                    </a:cubicBezTo>
                    <a:cubicBezTo>
                      <a:pt x="1318" y="523"/>
                      <a:pt x="1311" y="523"/>
                      <a:pt x="1318" y="532"/>
                    </a:cubicBezTo>
                    <a:cubicBezTo>
                      <a:pt x="1312" y="533"/>
                      <a:pt x="1304" y="558"/>
                      <a:pt x="1296" y="550"/>
                    </a:cubicBezTo>
                    <a:cubicBezTo>
                      <a:pt x="1288" y="542"/>
                      <a:pt x="1289" y="550"/>
                      <a:pt x="1291" y="563"/>
                    </a:cubicBezTo>
                    <a:cubicBezTo>
                      <a:pt x="1294" y="598"/>
                      <a:pt x="1284" y="632"/>
                      <a:pt x="1278" y="666"/>
                    </a:cubicBezTo>
                    <a:cubicBezTo>
                      <a:pt x="1277" y="678"/>
                      <a:pt x="1282" y="694"/>
                      <a:pt x="1286" y="705"/>
                    </a:cubicBezTo>
                    <a:cubicBezTo>
                      <a:pt x="1301" y="701"/>
                      <a:pt x="1318" y="698"/>
                      <a:pt x="1336" y="695"/>
                    </a:cubicBezTo>
                    <a:cubicBezTo>
                      <a:pt x="1349" y="698"/>
                      <a:pt x="1360" y="706"/>
                      <a:pt x="1374" y="707"/>
                    </a:cubicBezTo>
                    <a:cubicBezTo>
                      <a:pt x="1388" y="709"/>
                      <a:pt x="1386" y="701"/>
                      <a:pt x="1390" y="713"/>
                    </a:cubicBezTo>
                    <a:cubicBezTo>
                      <a:pt x="1385" y="733"/>
                      <a:pt x="1400" y="711"/>
                      <a:pt x="1411" y="712"/>
                    </a:cubicBezTo>
                    <a:cubicBezTo>
                      <a:pt x="1432" y="704"/>
                      <a:pt x="1440" y="731"/>
                      <a:pt x="1447" y="745"/>
                    </a:cubicBezTo>
                    <a:cubicBezTo>
                      <a:pt x="1450" y="764"/>
                      <a:pt x="1468" y="767"/>
                      <a:pt x="1486" y="768"/>
                    </a:cubicBezTo>
                    <a:cubicBezTo>
                      <a:pt x="1500" y="772"/>
                      <a:pt x="1523" y="775"/>
                      <a:pt x="1532" y="777"/>
                    </a:cubicBezTo>
                    <a:cubicBezTo>
                      <a:pt x="1535" y="787"/>
                      <a:pt x="1533" y="792"/>
                      <a:pt x="1536" y="807"/>
                    </a:cubicBezTo>
                    <a:cubicBezTo>
                      <a:pt x="1544" y="819"/>
                      <a:pt x="1524" y="812"/>
                      <a:pt x="1522" y="820"/>
                    </a:cubicBezTo>
                    <a:cubicBezTo>
                      <a:pt x="1505" y="824"/>
                      <a:pt x="1519" y="838"/>
                      <a:pt x="1521" y="844"/>
                    </a:cubicBezTo>
                    <a:cubicBezTo>
                      <a:pt x="1534" y="858"/>
                      <a:pt x="1515" y="873"/>
                      <a:pt x="1525" y="888"/>
                    </a:cubicBezTo>
                    <a:cubicBezTo>
                      <a:pt x="1525" y="900"/>
                      <a:pt x="1505" y="893"/>
                      <a:pt x="1512" y="908"/>
                    </a:cubicBezTo>
                    <a:cubicBezTo>
                      <a:pt x="1502" y="903"/>
                      <a:pt x="1508" y="883"/>
                      <a:pt x="1493" y="889"/>
                    </a:cubicBezTo>
                    <a:cubicBezTo>
                      <a:pt x="1481" y="894"/>
                      <a:pt x="1492" y="903"/>
                      <a:pt x="1477" y="904"/>
                    </a:cubicBezTo>
                    <a:cubicBezTo>
                      <a:pt x="1467" y="905"/>
                      <a:pt x="1451" y="897"/>
                      <a:pt x="1439" y="905"/>
                    </a:cubicBezTo>
                    <a:cubicBezTo>
                      <a:pt x="1435" y="913"/>
                      <a:pt x="1427" y="921"/>
                      <a:pt x="1447" y="919"/>
                    </a:cubicBezTo>
                    <a:cubicBezTo>
                      <a:pt x="1450" y="937"/>
                      <a:pt x="1427" y="929"/>
                      <a:pt x="1425" y="945"/>
                    </a:cubicBezTo>
                    <a:cubicBezTo>
                      <a:pt x="1426" y="947"/>
                      <a:pt x="1425" y="950"/>
                      <a:pt x="1428" y="956"/>
                    </a:cubicBezTo>
                    <a:cubicBezTo>
                      <a:pt x="1432" y="957"/>
                      <a:pt x="1436" y="954"/>
                      <a:pt x="1433" y="961"/>
                    </a:cubicBezTo>
                    <a:cubicBezTo>
                      <a:pt x="1438" y="961"/>
                      <a:pt x="1421" y="974"/>
                      <a:pt x="1424" y="974"/>
                    </a:cubicBezTo>
                    <a:cubicBezTo>
                      <a:pt x="1414" y="980"/>
                      <a:pt x="1423" y="965"/>
                      <a:pt x="1422" y="959"/>
                    </a:cubicBezTo>
                    <a:cubicBezTo>
                      <a:pt x="1423" y="947"/>
                      <a:pt x="1404" y="925"/>
                      <a:pt x="1405" y="944"/>
                    </a:cubicBezTo>
                    <a:cubicBezTo>
                      <a:pt x="1395" y="960"/>
                      <a:pt x="1419" y="958"/>
                      <a:pt x="1404" y="972"/>
                    </a:cubicBezTo>
                    <a:cubicBezTo>
                      <a:pt x="1383" y="964"/>
                      <a:pt x="1393" y="995"/>
                      <a:pt x="1405" y="995"/>
                    </a:cubicBezTo>
                    <a:cubicBezTo>
                      <a:pt x="1406" y="997"/>
                      <a:pt x="1423" y="999"/>
                      <a:pt x="1414" y="1016"/>
                    </a:cubicBezTo>
                    <a:cubicBezTo>
                      <a:pt x="1415" y="1042"/>
                      <a:pt x="1402" y="1003"/>
                      <a:pt x="1395" y="1027"/>
                    </a:cubicBezTo>
                    <a:cubicBezTo>
                      <a:pt x="1387" y="1015"/>
                      <a:pt x="1377" y="1015"/>
                      <a:pt x="1360" y="1018"/>
                    </a:cubicBezTo>
                    <a:cubicBezTo>
                      <a:pt x="1345" y="1014"/>
                      <a:pt x="1349" y="1024"/>
                      <a:pt x="1348" y="1034"/>
                    </a:cubicBezTo>
                    <a:cubicBezTo>
                      <a:pt x="1366" y="1048"/>
                      <a:pt x="1336" y="1051"/>
                      <a:pt x="1326" y="1058"/>
                    </a:cubicBezTo>
                    <a:cubicBezTo>
                      <a:pt x="1315" y="1065"/>
                      <a:pt x="1314" y="1076"/>
                      <a:pt x="1311" y="1089"/>
                    </a:cubicBezTo>
                    <a:cubicBezTo>
                      <a:pt x="1321" y="1089"/>
                      <a:pt x="1330" y="1101"/>
                      <a:pt x="1324" y="1115"/>
                    </a:cubicBezTo>
                    <a:cubicBezTo>
                      <a:pt x="1325" y="1129"/>
                      <a:pt x="1336" y="1128"/>
                      <a:pt x="1338" y="1139"/>
                    </a:cubicBezTo>
                    <a:cubicBezTo>
                      <a:pt x="1334" y="1144"/>
                      <a:pt x="1334" y="1144"/>
                      <a:pt x="1334" y="1144"/>
                    </a:cubicBezTo>
                    <a:cubicBezTo>
                      <a:pt x="1334" y="1144"/>
                      <a:pt x="1334" y="1144"/>
                      <a:pt x="1334" y="1144"/>
                    </a:cubicBezTo>
                    <a:cubicBezTo>
                      <a:pt x="1334" y="1144"/>
                      <a:pt x="1334" y="1144"/>
                      <a:pt x="1334" y="1144"/>
                    </a:cubicBezTo>
                    <a:cubicBezTo>
                      <a:pt x="1333" y="1144"/>
                      <a:pt x="1333" y="1144"/>
                      <a:pt x="1333" y="1144"/>
                    </a:cubicBezTo>
                    <a:cubicBezTo>
                      <a:pt x="1305" y="1185"/>
                      <a:pt x="1305" y="1185"/>
                      <a:pt x="1305" y="1185"/>
                    </a:cubicBezTo>
                    <a:cubicBezTo>
                      <a:pt x="1289" y="1194"/>
                      <a:pt x="1289" y="1194"/>
                      <a:pt x="1289" y="1194"/>
                    </a:cubicBezTo>
                    <a:cubicBezTo>
                      <a:pt x="1247" y="1198"/>
                      <a:pt x="1247" y="1198"/>
                      <a:pt x="1247" y="1198"/>
                    </a:cubicBezTo>
                    <a:cubicBezTo>
                      <a:pt x="1247" y="1198"/>
                      <a:pt x="1247" y="1198"/>
                      <a:pt x="1247" y="1198"/>
                    </a:cubicBezTo>
                    <a:cubicBezTo>
                      <a:pt x="1145" y="1254"/>
                      <a:pt x="1145" y="1254"/>
                      <a:pt x="1145" y="1254"/>
                    </a:cubicBezTo>
                    <a:cubicBezTo>
                      <a:pt x="1125" y="1229"/>
                      <a:pt x="1125" y="1229"/>
                      <a:pt x="1125" y="1229"/>
                    </a:cubicBezTo>
                    <a:cubicBezTo>
                      <a:pt x="1088" y="1236"/>
                      <a:pt x="1088" y="1236"/>
                      <a:pt x="1088" y="1236"/>
                    </a:cubicBezTo>
                    <a:cubicBezTo>
                      <a:pt x="1088" y="1236"/>
                      <a:pt x="1088" y="1236"/>
                      <a:pt x="1088" y="1236"/>
                    </a:cubicBezTo>
                    <a:cubicBezTo>
                      <a:pt x="1070" y="1240"/>
                      <a:pt x="1070" y="1240"/>
                      <a:pt x="1070" y="1240"/>
                    </a:cubicBezTo>
                    <a:cubicBezTo>
                      <a:pt x="1070" y="1265"/>
                      <a:pt x="1070" y="1265"/>
                      <a:pt x="1070" y="1265"/>
                    </a:cubicBezTo>
                    <a:cubicBezTo>
                      <a:pt x="1070" y="1268"/>
                      <a:pt x="1070" y="1268"/>
                      <a:pt x="1070" y="1268"/>
                    </a:cubicBezTo>
                    <a:cubicBezTo>
                      <a:pt x="1064" y="1272"/>
                      <a:pt x="1064" y="1272"/>
                      <a:pt x="1064" y="1272"/>
                    </a:cubicBezTo>
                    <a:cubicBezTo>
                      <a:pt x="1044" y="1272"/>
                      <a:pt x="1044" y="1272"/>
                      <a:pt x="1044" y="1272"/>
                    </a:cubicBezTo>
                    <a:cubicBezTo>
                      <a:pt x="1043" y="1273"/>
                      <a:pt x="1043" y="1273"/>
                      <a:pt x="1043" y="1273"/>
                    </a:cubicBezTo>
                    <a:cubicBezTo>
                      <a:pt x="1037" y="1281"/>
                      <a:pt x="1037" y="1281"/>
                      <a:pt x="1037" y="1281"/>
                    </a:cubicBezTo>
                    <a:cubicBezTo>
                      <a:pt x="1026" y="1297"/>
                      <a:pt x="1026" y="1297"/>
                      <a:pt x="1026" y="1297"/>
                    </a:cubicBezTo>
                    <a:cubicBezTo>
                      <a:pt x="1010" y="1277"/>
                      <a:pt x="1010" y="1277"/>
                      <a:pt x="1010" y="1277"/>
                    </a:cubicBezTo>
                    <a:cubicBezTo>
                      <a:pt x="990" y="1278"/>
                      <a:pt x="990" y="1278"/>
                      <a:pt x="990" y="1278"/>
                    </a:cubicBezTo>
                    <a:cubicBezTo>
                      <a:pt x="985" y="1278"/>
                      <a:pt x="985" y="1278"/>
                      <a:pt x="985" y="1278"/>
                    </a:cubicBezTo>
                    <a:cubicBezTo>
                      <a:pt x="982" y="1289"/>
                      <a:pt x="982" y="1289"/>
                      <a:pt x="982" y="1289"/>
                    </a:cubicBezTo>
                    <a:cubicBezTo>
                      <a:pt x="981" y="1290"/>
                      <a:pt x="981" y="1290"/>
                      <a:pt x="981" y="1290"/>
                    </a:cubicBezTo>
                    <a:cubicBezTo>
                      <a:pt x="979" y="1292"/>
                      <a:pt x="979" y="1292"/>
                      <a:pt x="979" y="1292"/>
                    </a:cubicBezTo>
                    <a:cubicBezTo>
                      <a:pt x="971" y="1302"/>
                      <a:pt x="971" y="1302"/>
                      <a:pt x="971" y="1302"/>
                    </a:cubicBezTo>
                    <a:cubicBezTo>
                      <a:pt x="960" y="1300"/>
                      <a:pt x="960" y="1300"/>
                      <a:pt x="960" y="1300"/>
                    </a:cubicBezTo>
                    <a:cubicBezTo>
                      <a:pt x="960" y="1300"/>
                      <a:pt x="954" y="1292"/>
                      <a:pt x="951" y="1288"/>
                    </a:cubicBezTo>
                    <a:cubicBezTo>
                      <a:pt x="949" y="1285"/>
                      <a:pt x="930" y="1273"/>
                      <a:pt x="930" y="1273"/>
                    </a:cubicBezTo>
                    <a:cubicBezTo>
                      <a:pt x="920" y="1286"/>
                      <a:pt x="920" y="1286"/>
                      <a:pt x="920" y="1286"/>
                    </a:cubicBezTo>
                    <a:cubicBezTo>
                      <a:pt x="901" y="1292"/>
                      <a:pt x="901" y="1292"/>
                      <a:pt x="901" y="1292"/>
                    </a:cubicBezTo>
                    <a:cubicBezTo>
                      <a:pt x="895" y="1299"/>
                      <a:pt x="895" y="1299"/>
                      <a:pt x="895" y="1299"/>
                    </a:cubicBezTo>
                    <a:cubicBezTo>
                      <a:pt x="895" y="1299"/>
                      <a:pt x="894" y="1299"/>
                      <a:pt x="892" y="1298"/>
                    </a:cubicBezTo>
                    <a:cubicBezTo>
                      <a:pt x="890" y="1298"/>
                      <a:pt x="888" y="1298"/>
                      <a:pt x="886" y="1298"/>
                    </a:cubicBezTo>
                    <a:cubicBezTo>
                      <a:pt x="885" y="1298"/>
                      <a:pt x="884" y="1298"/>
                      <a:pt x="883" y="1298"/>
                    </a:cubicBezTo>
                    <a:cubicBezTo>
                      <a:pt x="883" y="1298"/>
                      <a:pt x="883" y="1298"/>
                      <a:pt x="883" y="1298"/>
                    </a:cubicBezTo>
                    <a:cubicBezTo>
                      <a:pt x="882" y="1298"/>
                      <a:pt x="881" y="1298"/>
                      <a:pt x="880" y="1297"/>
                    </a:cubicBezTo>
                    <a:cubicBezTo>
                      <a:pt x="880" y="1297"/>
                      <a:pt x="879" y="1298"/>
                      <a:pt x="879" y="1298"/>
                    </a:cubicBezTo>
                    <a:cubicBezTo>
                      <a:pt x="879" y="1298"/>
                      <a:pt x="879" y="1298"/>
                      <a:pt x="879" y="1298"/>
                    </a:cubicBezTo>
                    <a:cubicBezTo>
                      <a:pt x="879" y="1298"/>
                      <a:pt x="878" y="1298"/>
                      <a:pt x="878" y="1298"/>
                    </a:cubicBezTo>
                    <a:cubicBezTo>
                      <a:pt x="878" y="1298"/>
                      <a:pt x="878" y="1298"/>
                      <a:pt x="878" y="1299"/>
                    </a:cubicBezTo>
                    <a:cubicBezTo>
                      <a:pt x="878" y="1299"/>
                      <a:pt x="878" y="1299"/>
                      <a:pt x="878" y="1299"/>
                    </a:cubicBezTo>
                    <a:cubicBezTo>
                      <a:pt x="878" y="1299"/>
                      <a:pt x="877" y="1299"/>
                      <a:pt x="877" y="1299"/>
                    </a:cubicBezTo>
                    <a:cubicBezTo>
                      <a:pt x="877" y="1300"/>
                      <a:pt x="877" y="1300"/>
                      <a:pt x="877" y="1300"/>
                    </a:cubicBezTo>
                    <a:cubicBezTo>
                      <a:pt x="877" y="1300"/>
                      <a:pt x="877" y="1300"/>
                      <a:pt x="877" y="1301"/>
                    </a:cubicBezTo>
                    <a:cubicBezTo>
                      <a:pt x="877" y="1301"/>
                      <a:pt x="877" y="1301"/>
                      <a:pt x="877" y="1301"/>
                    </a:cubicBezTo>
                    <a:cubicBezTo>
                      <a:pt x="877" y="1302"/>
                      <a:pt x="877" y="1302"/>
                      <a:pt x="877" y="1302"/>
                    </a:cubicBezTo>
                    <a:cubicBezTo>
                      <a:pt x="877" y="1302"/>
                      <a:pt x="876" y="1303"/>
                      <a:pt x="876" y="1303"/>
                    </a:cubicBezTo>
                    <a:cubicBezTo>
                      <a:pt x="876" y="1303"/>
                      <a:pt x="876" y="1303"/>
                      <a:pt x="876" y="1303"/>
                    </a:cubicBezTo>
                    <a:cubicBezTo>
                      <a:pt x="876" y="1304"/>
                      <a:pt x="876" y="1304"/>
                      <a:pt x="876" y="1305"/>
                    </a:cubicBezTo>
                    <a:cubicBezTo>
                      <a:pt x="876" y="1305"/>
                      <a:pt x="876" y="1305"/>
                      <a:pt x="876" y="1305"/>
                    </a:cubicBezTo>
                    <a:cubicBezTo>
                      <a:pt x="876" y="1305"/>
                      <a:pt x="876" y="1306"/>
                      <a:pt x="876" y="1306"/>
                    </a:cubicBezTo>
                    <a:cubicBezTo>
                      <a:pt x="876" y="1310"/>
                      <a:pt x="877" y="1313"/>
                      <a:pt x="877" y="1313"/>
                    </a:cubicBezTo>
                    <a:cubicBezTo>
                      <a:pt x="869" y="1313"/>
                      <a:pt x="869" y="1313"/>
                      <a:pt x="869" y="1313"/>
                    </a:cubicBezTo>
                    <a:cubicBezTo>
                      <a:pt x="869" y="1322"/>
                      <a:pt x="869" y="1322"/>
                      <a:pt x="869" y="1322"/>
                    </a:cubicBezTo>
                    <a:cubicBezTo>
                      <a:pt x="833" y="1329"/>
                      <a:pt x="833" y="1329"/>
                      <a:pt x="833" y="1329"/>
                    </a:cubicBezTo>
                    <a:cubicBezTo>
                      <a:pt x="823" y="1337"/>
                      <a:pt x="823" y="1337"/>
                      <a:pt x="823" y="1337"/>
                    </a:cubicBezTo>
                    <a:cubicBezTo>
                      <a:pt x="812" y="1355"/>
                      <a:pt x="812" y="1355"/>
                      <a:pt x="812" y="1355"/>
                    </a:cubicBezTo>
                    <a:cubicBezTo>
                      <a:pt x="826" y="1360"/>
                      <a:pt x="826" y="1360"/>
                      <a:pt x="826" y="1360"/>
                    </a:cubicBezTo>
                    <a:cubicBezTo>
                      <a:pt x="819" y="1370"/>
                      <a:pt x="819" y="1370"/>
                      <a:pt x="819" y="1370"/>
                    </a:cubicBezTo>
                    <a:cubicBezTo>
                      <a:pt x="823" y="1396"/>
                      <a:pt x="823" y="1396"/>
                      <a:pt x="823" y="1396"/>
                    </a:cubicBezTo>
                    <a:cubicBezTo>
                      <a:pt x="808" y="1404"/>
                      <a:pt x="808" y="1404"/>
                      <a:pt x="808" y="1404"/>
                    </a:cubicBezTo>
                    <a:cubicBezTo>
                      <a:pt x="782" y="1422"/>
                      <a:pt x="782" y="1422"/>
                      <a:pt x="782" y="1422"/>
                    </a:cubicBezTo>
                    <a:cubicBezTo>
                      <a:pt x="781" y="1413"/>
                      <a:pt x="781" y="1413"/>
                      <a:pt x="781" y="1413"/>
                    </a:cubicBezTo>
                    <a:cubicBezTo>
                      <a:pt x="757" y="1407"/>
                      <a:pt x="757" y="1407"/>
                      <a:pt x="757" y="1407"/>
                    </a:cubicBezTo>
                    <a:cubicBezTo>
                      <a:pt x="730" y="1410"/>
                      <a:pt x="730" y="1410"/>
                      <a:pt x="730" y="1410"/>
                    </a:cubicBezTo>
                    <a:cubicBezTo>
                      <a:pt x="730" y="1409"/>
                      <a:pt x="730" y="1409"/>
                      <a:pt x="730" y="1409"/>
                    </a:cubicBezTo>
                    <a:cubicBezTo>
                      <a:pt x="746" y="1397"/>
                      <a:pt x="746" y="1397"/>
                      <a:pt x="746" y="1397"/>
                    </a:cubicBezTo>
                    <a:cubicBezTo>
                      <a:pt x="742" y="1396"/>
                      <a:pt x="742" y="1396"/>
                      <a:pt x="742" y="1396"/>
                    </a:cubicBezTo>
                    <a:cubicBezTo>
                      <a:pt x="737" y="1396"/>
                      <a:pt x="737" y="1396"/>
                      <a:pt x="737" y="1396"/>
                    </a:cubicBezTo>
                    <a:cubicBezTo>
                      <a:pt x="737" y="1396"/>
                      <a:pt x="737" y="1396"/>
                      <a:pt x="737" y="1396"/>
                    </a:cubicBezTo>
                    <a:cubicBezTo>
                      <a:pt x="739" y="1391"/>
                      <a:pt x="739" y="1391"/>
                      <a:pt x="739" y="1391"/>
                    </a:cubicBezTo>
                    <a:cubicBezTo>
                      <a:pt x="740" y="1366"/>
                      <a:pt x="740" y="1366"/>
                      <a:pt x="740" y="1366"/>
                    </a:cubicBezTo>
                    <a:cubicBezTo>
                      <a:pt x="757" y="1331"/>
                      <a:pt x="757" y="1331"/>
                      <a:pt x="757" y="1331"/>
                    </a:cubicBezTo>
                    <a:cubicBezTo>
                      <a:pt x="763" y="1309"/>
                      <a:pt x="763" y="1309"/>
                      <a:pt x="763" y="1309"/>
                    </a:cubicBezTo>
                    <a:cubicBezTo>
                      <a:pt x="766" y="1281"/>
                      <a:pt x="766" y="1281"/>
                      <a:pt x="766" y="1281"/>
                    </a:cubicBezTo>
                    <a:cubicBezTo>
                      <a:pt x="766" y="1279"/>
                      <a:pt x="766" y="1279"/>
                      <a:pt x="766" y="1279"/>
                    </a:cubicBezTo>
                    <a:cubicBezTo>
                      <a:pt x="777" y="1258"/>
                      <a:pt x="777" y="1258"/>
                      <a:pt x="777" y="1258"/>
                    </a:cubicBezTo>
                    <a:cubicBezTo>
                      <a:pt x="776" y="1239"/>
                      <a:pt x="776" y="1239"/>
                      <a:pt x="776" y="1239"/>
                    </a:cubicBezTo>
                    <a:cubicBezTo>
                      <a:pt x="786" y="1223"/>
                      <a:pt x="786" y="1223"/>
                      <a:pt x="786" y="1223"/>
                    </a:cubicBezTo>
                    <a:cubicBezTo>
                      <a:pt x="792" y="1207"/>
                      <a:pt x="792" y="1207"/>
                      <a:pt x="792" y="1207"/>
                    </a:cubicBezTo>
                    <a:cubicBezTo>
                      <a:pt x="805" y="1197"/>
                      <a:pt x="805" y="1197"/>
                      <a:pt x="805" y="1197"/>
                    </a:cubicBezTo>
                    <a:cubicBezTo>
                      <a:pt x="814" y="1183"/>
                      <a:pt x="814" y="1183"/>
                      <a:pt x="814" y="1183"/>
                    </a:cubicBezTo>
                    <a:cubicBezTo>
                      <a:pt x="818" y="1158"/>
                      <a:pt x="818" y="1158"/>
                      <a:pt x="818" y="1158"/>
                    </a:cubicBezTo>
                    <a:cubicBezTo>
                      <a:pt x="826" y="1142"/>
                      <a:pt x="826" y="1142"/>
                      <a:pt x="826" y="1142"/>
                    </a:cubicBezTo>
                    <a:cubicBezTo>
                      <a:pt x="835" y="1114"/>
                      <a:pt x="835" y="1114"/>
                      <a:pt x="835" y="1114"/>
                    </a:cubicBezTo>
                    <a:cubicBezTo>
                      <a:pt x="839" y="1104"/>
                      <a:pt x="839" y="1104"/>
                      <a:pt x="839" y="1104"/>
                    </a:cubicBezTo>
                    <a:cubicBezTo>
                      <a:pt x="845" y="1089"/>
                      <a:pt x="845" y="1089"/>
                      <a:pt x="845" y="1089"/>
                    </a:cubicBezTo>
                    <a:cubicBezTo>
                      <a:pt x="842" y="1072"/>
                      <a:pt x="842" y="1072"/>
                      <a:pt x="842" y="1072"/>
                    </a:cubicBezTo>
                    <a:cubicBezTo>
                      <a:pt x="833" y="1055"/>
                      <a:pt x="833" y="1055"/>
                      <a:pt x="833" y="1055"/>
                    </a:cubicBezTo>
                    <a:cubicBezTo>
                      <a:pt x="846" y="1024"/>
                      <a:pt x="846" y="1024"/>
                      <a:pt x="846" y="1024"/>
                    </a:cubicBezTo>
                    <a:cubicBezTo>
                      <a:pt x="847" y="1007"/>
                      <a:pt x="847" y="1007"/>
                      <a:pt x="847" y="1007"/>
                    </a:cubicBezTo>
                    <a:cubicBezTo>
                      <a:pt x="844" y="978"/>
                      <a:pt x="844" y="978"/>
                      <a:pt x="844" y="978"/>
                    </a:cubicBezTo>
                    <a:cubicBezTo>
                      <a:pt x="838" y="956"/>
                      <a:pt x="838" y="956"/>
                      <a:pt x="838" y="956"/>
                    </a:cubicBezTo>
                    <a:cubicBezTo>
                      <a:pt x="841" y="945"/>
                      <a:pt x="841" y="945"/>
                      <a:pt x="841" y="945"/>
                    </a:cubicBezTo>
                    <a:cubicBezTo>
                      <a:pt x="834" y="939"/>
                      <a:pt x="834" y="939"/>
                      <a:pt x="834" y="939"/>
                    </a:cubicBezTo>
                    <a:cubicBezTo>
                      <a:pt x="833" y="927"/>
                      <a:pt x="833" y="927"/>
                      <a:pt x="833" y="927"/>
                    </a:cubicBezTo>
                    <a:cubicBezTo>
                      <a:pt x="826" y="938"/>
                      <a:pt x="826" y="938"/>
                      <a:pt x="826" y="938"/>
                    </a:cubicBezTo>
                    <a:cubicBezTo>
                      <a:pt x="823" y="936"/>
                      <a:pt x="823" y="936"/>
                      <a:pt x="823" y="936"/>
                    </a:cubicBezTo>
                    <a:cubicBezTo>
                      <a:pt x="825" y="920"/>
                      <a:pt x="825" y="920"/>
                      <a:pt x="825" y="920"/>
                    </a:cubicBezTo>
                    <a:cubicBezTo>
                      <a:pt x="830" y="915"/>
                      <a:pt x="830" y="915"/>
                      <a:pt x="830" y="915"/>
                    </a:cubicBezTo>
                    <a:cubicBezTo>
                      <a:pt x="831" y="907"/>
                      <a:pt x="831" y="907"/>
                      <a:pt x="831" y="907"/>
                    </a:cubicBezTo>
                    <a:cubicBezTo>
                      <a:pt x="831" y="906"/>
                      <a:pt x="831" y="906"/>
                      <a:pt x="831" y="906"/>
                    </a:cubicBezTo>
                    <a:cubicBezTo>
                      <a:pt x="836" y="901"/>
                      <a:pt x="836" y="901"/>
                      <a:pt x="836" y="901"/>
                    </a:cubicBezTo>
                    <a:cubicBezTo>
                      <a:pt x="837" y="895"/>
                      <a:pt x="837" y="895"/>
                      <a:pt x="837" y="895"/>
                    </a:cubicBezTo>
                    <a:cubicBezTo>
                      <a:pt x="832" y="881"/>
                      <a:pt x="832" y="881"/>
                      <a:pt x="832" y="881"/>
                    </a:cubicBezTo>
                    <a:cubicBezTo>
                      <a:pt x="832" y="875"/>
                      <a:pt x="832" y="875"/>
                      <a:pt x="832" y="875"/>
                    </a:cubicBezTo>
                    <a:cubicBezTo>
                      <a:pt x="840" y="867"/>
                      <a:pt x="840" y="867"/>
                      <a:pt x="840" y="867"/>
                    </a:cubicBezTo>
                    <a:cubicBezTo>
                      <a:pt x="843" y="849"/>
                      <a:pt x="843" y="849"/>
                      <a:pt x="843" y="849"/>
                    </a:cubicBezTo>
                    <a:cubicBezTo>
                      <a:pt x="844" y="840"/>
                      <a:pt x="844" y="840"/>
                      <a:pt x="844" y="840"/>
                    </a:cubicBezTo>
                    <a:cubicBezTo>
                      <a:pt x="832" y="830"/>
                      <a:pt x="832" y="830"/>
                      <a:pt x="832" y="830"/>
                    </a:cubicBezTo>
                    <a:cubicBezTo>
                      <a:pt x="834" y="825"/>
                      <a:pt x="834" y="825"/>
                      <a:pt x="834" y="825"/>
                    </a:cubicBezTo>
                    <a:cubicBezTo>
                      <a:pt x="847" y="825"/>
                      <a:pt x="847" y="825"/>
                      <a:pt x="847" y="825"/>
                    </a:cubicBezTo>
                    <a:cubicBezTo>
                      <a:pt x="850" y="815"/>
                      <a:pt x="850" y="815"/>
                      <a:pt x="850" y="815"/>
                    </a:cubicBezTo>
                    <a:cubicBezTo>
                      <a:pt x="848" y="809"/>
                      <a:pt x="848" y="809"/>
                      <a:pt x="848" y="809"/>
                    </a:cubicBezTo>
                    <a:cubicBezTo>
                      <a:pt x="861" y="807"/>
                      <a:pt x="861" y="807"/>
                      <a:pt x="861" y="807"/>
                    </a:cubicBezTo>
                    <a:cubicBezTo>
                      <a:pt x="871" y="803"/>
                      <a:pt x="871" y="803"/>
                      <a:pt x="871" y="803"/>
                    </a:cubicBezTo>
                    <a:cubicBezTo>
                      <a:pt x="878" y="794"/>
                      <a:pt x="878" y="794"/>
                      <a:pt x="878" y="794"/>
                    </a:cubicBezTo>
                    <a:cubicBezTo>
                      <a:pt x="908" y="766"/>
                      <a:pt x="908" y="766"/>
                      <a:pt x="908" y="766"/>
                    </a:cubicBezTo>
                    <a:cubicBezTo>
                      <a:pt x="920" y="754"/>
                      <a:pt x="920" y="754"/>
                      <a:pt x="920" y="754"/>
                    </a:cubicBezTo>
                    <a:cubicBezTo>
                      <a:pt x="924" y="740"/>
                      <a:pt x="924" y="740"/>
                      <a:pt x="924" y="740"/>
                    </a:cubicBezTo>
                    <a:cubicBezTo>
                      <a:pt x="930" y="735"/>
                      <a:pt x="930" y="735"/>
                      <a:pt x="930" y="735"/>
                    </a:cubicBezTo>
                    <a:cubicBezTo>
                      <a:pt x="932" y="716"/>
                      <a:pt x="932" y="716"/>
                      <a:pt x="932" y="716"/>
                    </a:cubicBezTo>
                    <a:cubicBezTo>
                      <a:pt x="927" y="690"/>
                      <a:pt x="927" y="690"/>
                      <a:pt x="927" y="690"/>
                    </a:cubicBezTo>
                    <a:cubicBezTo>
                      <a:pt x="919" y="672"/>
                      <a:pt x="919" y="672"/>
                      <a:pt x="919" y="672"/>
                    </a:cubicBezTo>
                    <a:cubicBezTo>
                      <a:pt x="902" y="653"/>
                      <a:pt x="902" y="653"/>
                      <a:pt x="902" y="653"/>
                    </a:cubicBezTo>
                    <a:cubicBezTo>
                      <a:pt x="900" y="651"/>
                      <a:pt x="900" y="651"/>
                      <a:pt x="900" y="651"/>
                    </a:cubicBezTo>
                    <a:cubicBezTo>
                      <a:pt x="896" y="647"/>
                      <a:pt x="896" y="647"/>
                      <a:pt x="896" y="647"/>
                    </a:cubicBezTo>
                    <a:cubicBezTo>
                      <a:pt x="886" y="640"/>
                      <a:pt x="886" y="640"/>
                      <a:pt x="886" y="640"/>
                    </a:cubicBezTo>
                    <a:cubicBezTo>
                      <a:pt x="874" y="633"/>
                      <a:pt x="874" y="633"/>
                      <a:pt x="874" y="633"/>
                    </a:cubicBezTo>
                    <a:cubicBezTo>
                      <a:pt x="855" y="629"/>
                      <a:pt x="855" y="629"/>
                      <a:pt x="855" y="629"/>
                    </a:cubicBezTo>
                    <a:cubicBezTo>
                      <a:pt x="846" y="624"/>
                      <a:pt x="846" y="624"/>
                      <a:pt x="846" y="624"/>
                    </a:cubicBezTo>
                    <a:cubicBezTo>
                      <a:pt x="844" y="619"/>
                      <a:pt x="844" y="619"/>
                      <a:pt x="844" y="619"/>
                    </a:cubicBezTo>
                    <a:cubicBezTo>
                      <a:pt x="836" y="622"/>
                      <a:pt x="836" y="622"/>
                      <a:pt x="836" y="622"/>
                    </a:cubicBezTo>
                    <a:cubicBezTo>
                      <a:pt x="835" y="621"/>
                      <a:pt x="835" y="621"/>
                      <a:pt x="835" y="621"/>
                    </a:cubicBezTo>
                    <a:cubicBezTo>
                      <a:pt x="833" y="618"/>
                      <a:pt x="833" y="618"/>
                      <a:pt x="833" y="618"/>
                    </a:cubicBezTo>
                    <a:cubicBezTo>
                      <a:pt x="831" y="617"/>
                      <a:pt x="831" y="617"/>
                      <a:pt x="831" y="617"/>
                    </a:cubicBezTo>
                    <a:cubicBezTo>
                      <a:pt x="824" y="610"/>
                      <a:pt x="824" y="610"/>
                      <a:pt x="824" y="610"/>
                    </a:cubicBezTo>
                    <a:cubicBezTo>
                      <a:pt x="788" y="602"/>
                      <a:pt x="788" y="602"/>
                      <a:pt x="788" y="602"/>
                    </a:cubicBezTo>
                    <a:cubicBezTo>
                      <a:pt x="749" y="609"/>
                      <a:pt x="749" y="609"/>
                      <a:pt x="749" y="609"/>
                    </a:cubicBezTo>
                    <a:cubicBezTo>
                      <a:pt x="742" y="609"/>
                      <a:pt x="742" y="609"/>
                      <a:pt x="742" y="609"/>
                    </a:cubicBezTo>
                    <a:cubicBezTo>
                      <a:pt x="734" y="605"/>
                      <a:pt x="734" y="605"/>
                      <a:pt x="734" y="605"/>
                    </a:cubicBezTo>
                    <a:cubicBezTo>
                      <a:pt x="693" y="620"/>
                      <a:pt x="693" y="620"/>
                      <a:pt x="693" y="620"/>
                    </a:cubicBezTo>
                    <a:cubicBezTo>
                      <a:pt x="691" y="623"/>
                      <a:pt x="691" y="623"/>
                      <a:pt x="691" y="623"/>
                    </a:cubicBezTo>
                    <a:cubicBezTo>
                      <a:pt x="681" y="641"/>
                      <a:pt x="681" y="641"/>
                      <a:pt x="681" y="641"/>
                    </a:cubicBezTo>
                    <a:cubicBezTo>
                      <a:pt x="675" y="662"/>
                      <a:pt x="675" y="662"/>
                      <a:pt x="675" y="662"/>
                    </a:cubicBezTo>
                    <a:cubicBezTo>
                      <a:pt x="677" y="690"/>
                      <a:pt x="677" y="690"/>
                      <a:pt x="677" y="690"/>
                    </a:cubicBezTo>
                    <a:cubicBezTo>
                      <a:pt x="681" y="698"/>
                      <a:pt x="681" y="698"/>
                      <a:pt x="681" y="698"/>
                    </a:cubicBezTo>
                    <a:cubicBezTo>
                      <a:pt x="680" y="708"/>
                      <a:pt x="680" y="708"/>
                      <a:pt x="680" y="708"/>
                    </a:cubicBezTo>
                    <a:cubicBezTo>
                      <a:pt x="672" y="720"/>
                      <a:pt x="672" y="720"/>
                      <a:pt x="672" y="720"/>
                    </a:cubicBezTo>
                    <a:cubicBezTo>
                      <a:pt x="669" y="738"/>
                      <a:pt x="669" y="738"/>
                      <a:pt x="669" y="738"/>
                    </a:cubicBezTo>
                    <a:cubicBezTo>
                      <a:pt x="665" y="743"/>
                      <a:pt x="665" y="743"/>
                      <a:pt x="665" y="743"/>
                    </a:cubicBezTo>
                    <a:cubicBezTo>
                      <a:pt x="668" y="746"/>
                      <a:pt x="668" y="746"/>
                      <a:pt x="668" y="746"/>
                    </a:cubicBezTo>
                    <a:cubicBezTo>
                      <a:pt x="667" y="751"/>
                      <a:pt x="667" y="751"/>
                      <a:pt x="667" y="751"/>
                    </a:cubicBezTo>
                    <a:cubicBezTo>
                      <a:pt x="655" y="770"/>
                      <a:pt x="655" y="770"/>
                      <a:pt x="655" y="770"/>
                    </a:cubicBezTo>
                    <a:cubicBezTo>
                      <a:pt x="660" y="774"/>
                      <a:pt x="660" y="774"/>
                      <a:pt x="660" y="774"/>
                    </a:cubicBezTo>
                    <a:cubicBezTo>
                      <a:pt x="657" y="779"/>
                      <a:pt x="657" y="779"/>
                      <a:pt x="657" y="779"/>
                    </a:cubicBezTo>
                    <a:cubicBezTo>
                      <a:pt x="649" y="779"/>
                      <a:pt x="649" y="779"/>
                      <a:pt x="649" y="779"/>
                    </a:cubicBezTo>
                    <a:cubicBezTo>
                      <a:pt x="645" y="783"/>
                      <a:pt x="645" y="783"/>
                      <a:pt x="645" y="783"/>
                    </a:cubicBezTo>
                    <a:cubicBezTo>
                      <a:pt x="640" y="784"/>
                      <a:pt x="640" y="784"/>
                      <a:pt x="640" y="784"/>
                    </a:cubicBezTo>
                    <a:cubicBezTo>
                      <a:pt x="635" y="782"/>
                      <a:pt x="635" y="782"/>
                      <a:pt x="635" y="782"/>
                    </a:cubicBezTo>
                    <a:cubicBezTo>
                      <a:pt x="634" y="781"/>
                      <a:pt x="634" y="781"/>
                      <a:pt x="634" y="781"/>
                    </a:cubicBezTo>
                    <a:cubicBezTo>
                      <a:pt x="623" y="787"/>
                      <a:pt x="623" y="787"/>
                      <a:pt x="623" y="787"/>
                    </a:cubicBezTo>
                    <a:cubicBezTo>
                      <a:pt x="614" y="788"/>
                      <a:pt x="614" y="788"/>
                      <a:pt x="614" y="788"/>
                    </a:cubicBezTo>
                    <a:cubicBezTo>
                      <a:pt x="610" y="781"/>
                      <a:pt x="610" y="781"/>
                      <a:pt x="610" y="781"/>
                    </a:cubicBezTo>
                    <a:cubicBezTo>
                      <a:pt x="607" y="783"/>
                      <a:pt x="607" y="783"/>
                      <a:pt x="607" y="783"/>
                    </a:cubicBezTo>
                    <a:cubicBezTo>
                      <a:pt x="600" y="797"/>
                      <a:pt x="600" y="797"/>
                      <a:pt x="600" y="797"/>
                    </a:cubicBezTo>
                    <a:cubicBezTo>
                      <a:pt x="593" y="790"/>
                      <a:pt x="593" y="790"/>
                      <a:pt x="593" y="790"/>
                    </a:cubicBezTo>
                    <a:cubicBezTo>
                      <a:pt x="582" y="796"/>
                      <a:pt x="582" y="796"/>
                      <a:pt x="582" y="796"/>
                    </a:cubicBezTo>
                    <a:cubicBezTo>
                      <a:pt x="577" y="785"/>
                      <a:pt x="577" y="785"/>
                      <a:pt x="577" y="785"/>
                    </a:cubicBezTo>
                    <a:cubicBezTo>
                      <a:pt x="574" y="785"/>
                      <a:pt x="574" y="785"/>
                      <a:pt x="574" y="785"/>
                    </a:cubicBezTo>
                    <a:cubicBezTo>
                      <a:pt x="573" y="796"/>
                      <a:pt x="573" y="796"/>
                      <a:pt x="573" y="796"/>
                    </a:cubicBezTo>
                    <a:cubicBezTo>
                      <a:pt x="571" y="800"/>
                      <a:pt x="571" y="800"/>
                      <a:pt x="571" y="800"/>
                    </a:cubicBezTo>
                    <a:cubicBezTo>
                      <a:pt x="567" y="801"/>
                      <a:pt x="567" y="801"/>
                      <a:pt x="567" y="801"/>
                    </a:cubicBezTo>
                    <a:cubicBezTo>
                      <a:pt x="563" y="810"/>
                      <a:pt x="563" y="810"/>
                      <a:pt x="563" y="810"/>
                    </a:cubicBezTo>
                    <a:cubicBezTo>
                      <a:pt x="556" y="812"/>
                      <a:pt x="556" y="812"/>
                      <a:pt x="556" y="812"/>
                    </a:cubicBezTo>
                    <a:cubicBezTo>
                      <a:pt x="549" y="819"/>
                      <a:pt x="549" y="819"/>
                      <a:pt x="549" y="819"/>
                    </a:cubicBezTo>
                    <a:cubicBezTo>
                      <a:pt x="545" y="818"/>
                      <a:pt x="545" y="818"/>
                      <a:pt x="545" y="818"/>
                    </a:cubicBezTo>
                    <a:cubicBezTo>
                      <a:pt x="535" y="845"/>
                      <a:pt x="535" y="845"/>
                      <a:pt x="535" y="845"/>
                    </a:cubicBezTo>
                    <a:cubicBezTo>
                      <a:pt x="532" y="846"/>
                      <a:pt x="532" y="846"/>
                      <a:pt x="532" y="846"/>
                    </a:cubicBezTo>
                    <a:cubicBezTo>
                      <a:pt x="529" y="843"/>
                      <a:pt x="529" y="843"/>
                      <a:pt x="529" y="843"/>
                    </a:cubicBezTo>
                    <a:cubicBezTo>
                      <a:pt x="525" y="833"/>
                      <a:pt x="525" y="833"/>
                      <a:pt x="525" y="833"/>
                    </a:cubicBezTo>
                    <a:cubicBezTo>
                      <a:pt x="512" y="828"/>
                      <a:pt x="512" y="828"/>
                      <a:pt x="512" y="828"/>
                    </a:cubicBezTo>
                    <a:cubicBezTo>
                      <a:pt x="494" y="816"/>
                      <a:pt x="494" y="816"/>
                      <a:pt x="494" y="816"/>
                    </a:cubicBezTo>
                    <a:cubicBezTo>
                      <a:pt x="484" y="803"/>
                      <a:pt x="484" y="803"/>
                      <a:pt x="484" y="803"/>
                    </a:cubicBezTo>
                    <a:cubicBezTo>
                      <a:pt x="475" y="774"/>
                      <a:pt x="475" y="774"/>
                      <a:pt x="475" y="774"/>
                    </a:cubicBezTo>
                    <a:cubicBezTo>
                      <a:pt x="471" y="768"/>
                      <a:pt x="471" y="768"/>
                      <a:pt x="471" y="768"/>
                    </a:cubicBezTo>
                    <a:cubicBezTo>
                      <a:pt x="473" y="764"/>
                      <a:pt x="473" y="764"/>
                      <a:pt x="473" y="764"/>
                    </a:cubicBezTo>
                    <a:cubicBezTo>
                      <a:pt x="463" y="762"/>
                      <a:pt x="463" y="762"/>
                      <a:pt x="463" y="762"/>
                    </a:cubicBezTo>
                    <a:cubicBezTo>
                      <a:pt x="459" y="738"/>
                      <a:pt x="459" y="738"/>
                      <a:pt x="459" y="738"/>
                    </a:cubicBezTo>
                    <a:cubicBezTo>
                      <a:pt x="455" y="734"/>
                      <a:pt x="455" y="734"/>
                      <a:pt x="455" y="734"/>
                    </a:cubicBezTo>
                    <a:cubicBezTo>
                      <a:pt x="449" y="734"/>
                      <a:pt x="449" y="734"/>
                      <a:pt x="449" y="734"/>
                    </a:cubicBezTo>
                    <a:cubicBezTo>
                      <a:pt x="442" y="713"/>
                      <a:pt x="442" y="713"/>
                      <a:pt x="442" y="713"/>
                    </a:cubicBezTo>
                    <a:cubicBezTo>
                      <a:pt x="436" y="707"/>
                      <a:pt x="436" y="707"/>
                      <a:pt x="436" y="707"/>
                    </a:cubicBezTo>
                    <a:cubicBezTo>
                      <a:pt x="430" y="705"/>
                      <a:pt x="430" y="705"/>
                      <a:pt x="430" y="705"/>
                    </a:cubicBezTo>
                    <a:cubicBezTo>
                      <a:pt x="426" y="705"/>
                      <a:pt x="426" y="705"/>
                      <a:pt x="426" y="705"/>
                    </a:cubicBezTo>
                    <a:cubicBezTo>
                      <a:pt x="425" y="709"/>
                      <a:pt x="425" y="709"/>
                      <a:pt x="425" y="709"/>
                    </a:cubicBezTo>
                    <a:cubicBezTo>
                      <a:pt x="430" y="715"/>
                      <a:pt x="430" y="715"/>
                      <a:pt x="430" y="715"/>
                    </a:cubicBezTo>
                    <a:cubicBezTo>
                      <a:pt x="432" y="719"/>
                      <a:pt x="432" y="719"/>
                      <a:pt x="432" y="719"/>
                    </a:cubicBezTo>
                    <a:cubicBezTo>
                      <a:pt x="431" y="733"/>
                      <a:pt x="431" y="733"/>
                      <a:pt x="431" y="733"/>
                    </a:cubicBezTo>
                    <a:cubicBezTo>
                      <a:pt x="431" y="739"/>
                      <a:pt x="431" y="739"/>
                      <a:pt x="431" y="739"/>
                    </a:cubicBezTo>
                    <a:cubicBezTo>
                      <a:pt x="430" y="739"/>
                      <a:pt x="430" y="739"/>
                      <a:pt x="430" y="739"/>
                    </a:cubicBezTo>
                    <a:cubicBezTo>
                      <a:pt x="425" y="736"/>
                      <a:pt x="425" y="736"/>
                      <a:pt x="425" y="736"/>
                    </a:cubicBezTo>
                    <a:cubicBezTo>
                      <a:pt x="416" y="719"/>
                      <a:pt x="416" y="719"/>
                      <a:pt x="416" y="719"/>
                    </a:cubicBezTo>
                    <a:cubicBezTo>
                      <a:pt x="411" y="713"/>
                      <a:pt x="411" y="713"/>
                      <a:pt x="411" y="713"/>
                    </a:cubicBezTo>
                    <a:cubicBezTo>
                      <a:pt x="410" y="719"/>
                      <a:pt x="410" y="719"/>
                      <a:pt x="410" y="719"/>
                    </a:cubicBezTo>
                    <a:cubicBezTo>
                      <a:pt x="414" y="725"/>
                      <a:pt x="414" y="725"/>
                      <a:pt x="414" y="725"/>
                    </a:cubicBezTo>
                    <a:cubicBezTo>
                      <a:pt x="412" y="728"/>
                      <a:pt x="412" y="728"/>
                      <a:pt x="412" y="728"/>
                    </a:cubicBezTo>
                    <a:cubicBezTo>
                      <a:pt x="408" y="727"/>
                      <a:pt x="408" y="727"/>
                      <a:pt x="408" y="727"/>
                    </a:cubicBezTo>
                    <a:cubicBezTo>
                      <a:pt x="400" y="710"/>
                      <a:pt x="400" y="710"/>
                      <a:pt x="400" y="710"/>
                    </a:cubicBezTo>
                    <a:cubicBezTo>
                      <a:pt x="392" y="707"/>
                      <a:pt x="392" y="707"/>
                      <a:pt x="392" y="707"/>
                    </a:cubicBezTo>
                    <a:cubicBezTo>
                      <a:pt x="388" y="701"/>
                      <a:pt x="388" y="701"/>
                      <a:pt x="388" y="701"/>
                    </a:cubicBezTo>
                    <a:cubicBezTo>
                      <a:pt x="383" y="699"/>
                      <a:pt x="383" y="699"/>
                      <a:pt x="383" y="699"/>
                    </a:cubicBezTo>
                    <a:cubicBezTo>
                      <a:pt x="378" y="700"/>
                      <a:pt x="378" y="700"/>
                      <a:pt x="378" y="700"/>
                    </a:cubicBezTo>
                    <a:cubicBezTo>
                      <a:pt x="375" y="708"/>
                      <a:pt x="375" y="708"/>
                      <a:pt x="375" y="708"/>
                    </a:cubicBezTo>
                    <a:cubicBezTo>
                      <a:pt x="354" y="693"/>
                      <a:pt x="354" y="693"/>
                      <a:pt x="354" y="693"/>
                    </a:cubicBezTo>
                    <a:cubicBezTo>
                      <a:pt x="352" y="694"/>
                      <a:pt x="352" y="694"/>
                      <a:pt x="352" y="694"/>
                    </a:cubicBezTo>
                    <a:cubicBezTo>
                      <a:pt x="351" y="714"/>
                      <a:pt x="351" y="714"/>
                      <a:pt x="351" y="714"/>
                    </a:cubicBezTo>
                    <a:cubicBezTo>
                      <a:pt x="348" y="717"/>
                      <a:pt x="348" y="717"/>
                      <a:pt x="348" y="717"/>
                    </a:cubicBezTo>
                    <a:cubicBezTo>
                      <a:pt x="343" y="718"/>
                      <a:pt x="343" y="718"/>
                      <a:pt x="343" y="718"/>
                    </a:cubicBezTo>
                    <a:cubicBezTo>
                      <a:pt x="320" y="703"/>
                      <a:pt x="320" y="703"/>
                      <a:pt x="320" y="703"/>
                    </a:cubicBezTo>
                    <a:cubicBezTo>
                      <a:pt x="319" y="702"/>
                      <a:pt x="319" y="702"/>
                      <a:pt x="319" y="702"/>
                    </a:cubicBezTo>
                    <a:cubicBezTo>
                      <a:pt x="314" y="694"/>
                      <a:pt x="314" y="694"/>
                      <a:pt x="314" y="694"/>
                    </a:cubicBezTo>
                    <a:cubicBezTo>
                      <a:pt x="315" y="688"/>
                      <a:pt x="315" y="688"/>
                      <a:pt x="315" y="688"/>
                    </a:cubicBezTo>
                    <a:cubicBezTo>
                      <a:pt x="294" y="657"/>
                      <a:pt x="294" y="657"/>
                      <a:pt x="294" y="657"/>
                    </a:cubicBezTo>
                    <a:cubicBezTo>
                      <a:pt x="284" y="649"/>
                      <a:pt x="284" y="649"/>
                      <a:pt x="284" y="649"/>
                    </a:cubicBezTo>
                    <a:cubicBezTo>
                      <a:pt x="273" y="665"/>
                      <a:pt x="273" y="665"/>
                      <a:pt x="273" y="665"/>
                    </a:cubicBezTo>
                    <a:cubicBezTo>
                      <a:pt x="273" y="671"/>
                      <a:pt x="273" y="671"/>
                      <a:pt x="273" y="671"/>
                    </a:cubicBezTo>
                    <a:cubicBezTo>
                      <a:pt x="280" y="678"/>
                      <a:pt x="280" y="678"/>
                      <a:pt x="280" y="678"/>
                    </a:cubicBezTo>
                    <a:cubicBezTo>
                      <a:pt x="271" y="681"/>
                      <a:pt x="271" y="681"/>
                      <a:pt x="271" y="681"/>
                    </a:cubicBezTo>
                    <a:cubicBezTo>
                      <a:pt x="262" y="668"/>
                      <a:pt x="262" y="668"/>
                      <a:pt x="262" y="668"/>
                    </a:cubicBezTo>
                    <a:cubicBezTo>
                      <a:pt x="255" y="663"/>
                      <a:pt x="255" y="663"/>
                      <a:pt x="255" y="663"/>
                    </a:cubicBezTo>
                    <a:cubicBezTo>
                      <a:pt x="253" y="667"/>
                      <a:pt x="253" y="667"/>
                      <a:pt x="253" y="667"/>
                    </a:cubicBezTo>
                    <a:cubicBezTo>
                      <a:pt x="255" y="671"/>
                      <a:pt x="255" y="671"/>
                      <a:pt x="255" y="671"/>
                    </a:cubicBezTo>
                    <a:cubicBezTo>
                      <a:pt x="249" y="670"/>
                      <a:pt x="249" y="670"/>
                      <a:pt x="249" y="670"/>
                    </a:cubicBezTo>
                    <a:cubicBezTo>
                      <a:pt x="246" y="663"/>
                      <a:pt x="246" y="663"/>
                      <a:pt x="246" y="663"/>
                    </a:cubicBezTo>
                    <a:cubicBezTo>
                      <a:pt x="234" y="655"/>
                      <a:pt x="234" y="655"/>
                      <a:pt x="234" y="655"/>
                    </a:cubicBezTo>
                    <a:cubicBezTo>
                      <a:pt x="232" y="645"/>
                      <a:pt x="232" y="645"/>
                      <a:pt x="232" y="645"/>
                    </a:cubicBezTo>
                    <a:cubicBezTo>
                      <a:pt x="229" y="643"/>
                      <a:pt x="229" y="643"/>
                      <a:pt x="229" y="643"/>
                    </a:cubicBezTo>
                    <a:cubicBezTo>
                      <a:pt x="229" y="656"/>
                      <a:pt x="229" y="656"/>
                      <a:pt x="229" y="656"/>
                    </a:cubicBezTo>
                    <a:cubicBezTo>
                      <a:pt x="229" y="657"/>
                      <a:pt x="229" y="657"/>
                      <a:pt x="229" y="657"/>
                    </a:cubicBezTo>
                    <a:cubicBezTo>
                      <a:pt x="225" y="664"/>
                      <a:pt x="225" y="664"/>
                      <a:pt x="225" y="664"/>
                    </a:cubicBezTo>
                    <a:cubicBezTo>
                      <a:pt x="218" y="660"/>
                      <a:pt x="218" y="660"/>
                      <a:pt x="218" y="660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7" y="666"/>
                      <a:pt x="217" y="666"/>
                      <a:pt x="217" y="666"/>
                    </a:cubicBezTo>
                    <a:cubicBezTo>
                      <a:pt x="224" y="671"/>
                      <a:pt x="224" y="671"/>
                      <a:pt x="224" y="671"/>
                    </a:cubicBezTo>
                    <a:cubicBezTo>
                      <a:pt x="226" y="679"/>
                      <a:pt x="226" y="679"/>
                      <a:pt x="226" y="679"/>
                    </a:cubicBezTo>
                    <a:cubicBezTo>
                      <a:pt x="223" y="684"/>
                      <a:pt x="223" y="684"/>
                      <a:pt x="223" y="684"/>
                    </a:cubicBezTo>
                    <a:cubicBezTo>
                      <a:pt x="215" y="679"/>
                      <a:pt x="215" y="679"/>
                      <a:pt x="215" y="679"/>
                    </a:cubicBezTo>
                    <a:cubicBezTo>
                      <a:pt x="207" y="665"/>
                      <a:pt x="207" y="665"/>
                      <a:pt x="207" y="665"/>
                    </a:cubicBezTo>
                    <a:cubicBezTo>
                      <a:pt x="202" y="662"/>
                      <a:pt x="202" y="662"/>
                      <a:pt x="202" y="662"/>
                    </a:cubicBezTo>
                    <a:cubicBezTo>
                      <a:pt x="204" y="657"/>
                      <a:pt x="204" y="657"/>
                      <a:pt x="204" y="657"/>
                    </a:cubicBezTo>
                    <a:cubicBezTo>
                      <a:pt x="212" y="655"/>
                      <a:pt x="212" y="655"/>
                      <a:pt x="212" y="655"/>
                    </a:cubicBezTo>
                    <a:cubicBezTo>
                      <a:pt x="213" y="646"/>
                      <a:pt x="213" y="646"/>
                      <a:pt x="213" y="646"/>
                    </a:cubicBezTo>
                    <a:cubicBezTo>
                      <a:pt x="201" y="637"/>
                      <a:pt x="201" y="637"/>
                      <a:pt x="201" y="637"/>
                    </a:cubicBezTo>
                    <a:cubicBezTo>
                      <a:pt x="199" y="630"/>
                      <a:pt x="199" y="630"/>
                      <a:pt x="199" y="630"/>
                    </a:cubicBezTo>
                    <a:cubicBezTo>
                      <a:pt x="200" y="622"/>
                      <a:pt x="200" y="622"/>
                      <a:pt x="200" y="622"/>
                    </a:cubicBezTo>
                    <a:cubicBezTo>
                      <a:pt x="189" y="607"/>
                      <a:pt x="189" y="607"/>
                      <a:pt x="189" y="607"/>
                    </a:cubicBezTo>
                    <a:cubicBezTo>
                      <a:pt x="183" y="597"/>
                      <a:pt x="183" y="597"/>
                      <a:pt x="183" y="597"/>
                    </a:cubicBezTo>
                    <a:cubicBezTo>
                      <a:pt x="183" y="571"/>
                      <a:pt x="183" y="571"/>
                      <a:pt x="183" y="571"/>
                    </a:cubicBezTo>
                    <a:cubicBezTo>
                      <a:pt x="179" y="562"/>
                      <a:pt x="179" y="562"/>
                      <a:pt x="179" y="562"/>
                    </a:cubicBezTo>
                    <a:cubicBezTo>
                      <a:pt x="178" y="558"/>
                      <a:pt x="178" y="558"/>
                      <a:pt x="178" y="558"/>
                    </a:cubicBezTo>
                    <a:cubicBezTo>
                      <a:pt x="168" y="546"/>
                      <a:pt x="168" y="546"/>
                      <a:pt x="168" y="546"/>
                    </a:cubicBezTo>
                    <a:cubicBezTo>
                      <a:pt x="166" y="531"/>
                      <a:pt x="166" y="531"/>
                      <a:pt x="166" y="531"/>
                    </a:cubicBezTo>
                    <a:cubicBezTo>
                      <a:pt x="161" y="528"/>
                      <a:pt x="161" y="528"/>
                      <a:pt x="161" y="528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56" y="527"/>
                      <a:pt x="156" y="527"/>
                      <a:pt x="156" y="527"/>
                    </a:cubicBezTo>
                    <a:cubicBezTo>
                      <a:pt x="161" y="519"/>
                      <a:pt x="161" y="519"/>
                      <a:pt x="161" y="519"/>
                    </a:cubicBezTo>
                    <a:cubicBezTo>
                      <a:pt x="157" y="511"/>
                      <a:pt x="157" y="511"/>
                      <a:pt x="157" y="511"/>
                    </a:cubicBezTo>
                    <a:cubicBezTo>
                      <a:pt x="163" y="491"/>
                      <a:pt x="163" y="491"/>
                      <a:pt x="163" y="491"/>
                    </a:cubicBezTo>
                    <a:cubicBezTo>
                      <a:pt x="160" y="482"/>
                      <a:pt x="160" y="482"/>
                      <a:pt x="160" y="482"/>
                    </a:cubicBezTo>
                    <a:cubicBezTo>
                      <a:pt x="162" y="467"/>
                      <a:pt x="162" y="467"/>
                      <a:pt x="162" y="467"/>
                    </a:cubicBezTo>
                    <a:cubicBezTo>
                      <a:pt x="168" y="452"/>
                      <a:pt x="168" y="452"/>
                      <a:pt x="168" y="452"/>
                    </a:cubicBezTo>
                    <a:cubicBezTo>
                      <a:pt x="167" y="445"/>
                      <a:pt x="167" y="445"/>
                      <a:pt x="167" y="445"/>
                    </a:cubicBezTo>
                    <a:cubicBezTo>
                      <a:pt x="166" y="440"/>
                      <a:pt x="166" y="440"/>
                      <a:pt x="166" y="440"/>
                    </a:cubicBezTo>
                    <a:cubicBezTo>
                      <a:pt x="163" y="439"/>
                      <a:pt x="163" y="439"/>
                      <a:pt x="163" y="439"/>
                    </a:cubicBezTo>
                    <a:cubicBezTo>
                      <a:pt x="161" y="435"/>
                      <a:pt x="161" y="435"/>
                      <a:pt x="161" y="435"/>
                    </a:cubicBezTo>
                    <a:cubicBezTo>
                      <a:pt x="163" y="427"/>
                      <a:pt x="163" y="427"/>
                      <a:pt x="163" y="427"/>
                    </a:cubicBezTo>
                    <a:cubicBezTo>
                      <a:pt x="166" y="417"/>
                      <a:pt x="166" y="417"/>
                      <a:pt x="166" y="417"/>
                    </a:cubicBezTo>
                    <a:cubicBezTo>
                      <a:pt x="159" y="408"/>
                      <a:pt x="159" y="408"/>
                      <a:pt x="159" y="408"/>
                    </a:cubicBezTo>
                    <a:cubicBezTo>
                      <a:pt x="159" y="407"/>
                      <a:pt x="159" y="407"/>
                      <a:pt x="159" y="407"/>
                    </a:cubicBezTo>
                    <a:cubicBezTo>
                      <a:pt x="159" y="404"/>
                      <a:pt x="159" y="404"/>
                      <a:pt x="159" y="404"/>
                    </a:cubicBezTo>
                    <a:cubicBezTo>
                      <a:pt x="159" y="398"/>
                      <a:pt x="159" y="398"/>
                      <a:pt x="159" y="398"/>
                    </a:cubicBezTo>
                    <a:cubicBezTo>
                      <a:pt x="162" y="398"/>
                      <a:pt x="162" y="398"/>
                      <a:pt x="162" y="398"/>
                    </a:cubicBezTo>
                    <a:cubicBezTo>
                      <a:pt x="164" y="393"/>
                      <a:pt x="164" y="393"/>
                      <a:pt x="164" y="393"/>
                    </a:cubicBezTo>
                    <a:cubicBezTo>
                      <a:pt x="158" y="391"/>
                      <a:pt x="158" y="391"/>
                      <a:pt x="158" y="391"/>
                    </a:cubicBezTo>
                    <a:cubicBezTo>
                      <a:pt x="157" y="391"/>
                      <a:pt x="157" y="391"/>
                      <a:pt x="157" y="391"/>
                    </a:cubicBezTo>
                    <a:cubicBezTo>
                      <a:pt x="156" y="385"/>
                      <a:pt x="156" y="385"/>
                      <a:pt x="156" y="385"/>
                    </a:cubicBezTo>
                    <a:cubicBezTo>
                      <a:pt x="149" y="381"/>
                      <a:pt x="149" y="381"/>
                      <a:pt x="149" y="381"/>
                    </a:cubicBezTo>
                    <a:cubicBezTo>
                      <a:pt x="145" y="386"/>
                      <a:pt x="145" y="386"/>
                      <a:pt x="145" y="386"/>
                    </a:cubicBezTo>
                    <a:cubicBezTo>
                      <a:pt x="144" y="405"/>
                      <a:pt x="144" y="405"/>
                      <a:pt x="144" y="405"/>
                    </a:cubicBezTo>
                    <a:cubicBezTo>
                      <a:pt x="138" y="401"/>
                      <a:pt x="138" y="401"/>
                      <a:pt x="138" y="401"/>
                    </a:cubicBezTo>
                    <a:cubicBezTo>
                      <a:pt x="135" y="401"/>
                      <a:pt x="135" y="401"/>
                      <a:pt x="135" y="401"/>
                    </a:cubicBezTo>
                    <a:cubicBezTo>
                      <a:pt x="137" y="395"/>
                      <a:pt x="137" y="395"/>
                      <a:pt x="137" y="395"/>
                    </a:cubicBezTo>
                    <a:cubicBezTo>
                      <a:pt x="133" y="391"/>
                      <a:pt x="133" y="391"/>
                      <a:pt x="133" y="391"/>
                    </a:cubicBezTo>
                    <a:cubicBezTo>
                      <a:pt x="128" y="389"/>
                      <a:pt x="128" y="389"/>
                      <a:pt x="128" y="389"/>
                    </a:cubicBezTo>
                    <a:cubicBezTo>
                      <a:pt x="123" y="396"/>
                      <a:pt x="123" y="396"/>
                      <a:pt x="123" y="396"/>
                    </a:cubicBezTo>
                    <a:cubicBezTo>
                      <a:pt x="111" y="383"/>
                      <a:pt x="111" y="383"/>
                      <a:pt x="111" y="383"/>
                    </a:cubicBezTo>
                    <a:cubicBezTo>
                      <a:pt x="110" y="378"/>
                      <a:pt x="110" y="378"/>
                      <a:pt x="110" y="378"/>
                    </a:cubicBezTo>
                    <a:cubicBezTo>
                      <a:pt x="101" y="371"/>
                      <a:pt x="101" y="371"/>
                      <a:pt x="101" y="371"/>
                    </a:cubicBezTo>
                    <a:cubicBezTo>
                      <a:pt x="91" y="367"/>
                      <a:pt x="91" y="367"/>
                      <a:pt x="91" y="367"/>
                    </a:cubicBezTo>
                    <a:cubicBezTo>
                      <a:pt x="93" y="359"/>
                      <a:pt x="93" y="359"/>
                      <a:pt x="93" y="359"/>
                    </a:cubicBezTo>
                    <a:cubicBezTo>
                      <a:pt x="91" y="355"/>
                      <a:pt x="91" y="355"/>
                      <a:pt x="91" y="355"/>
                    </a:cubicBezTo>
                    <a:cubicBezTo>
                      <a:pt x="85" y="350"/>
                      <a:pt x="85" y="350"/>
                      <a:pt x="85" y="350"/>
                    </a:cubicBezTo>
                    <a:cubicBezTo>
                      <a:pt x="78" y="350"/>
                      <a:pt x="78" y="350"/>
                      <a:pt x="78" y="350"/>
                    </a:cubicBezTo>
                    <a:cubicBezTo>
                      <a:pt x="71" y="353"/>
                      <a:pt x="71" y="353"/>
                      <a:pt x="71" y="353"/>
                    </a:cubicBezTo>
                    <a:cubicBezTo>
                      <a:pt x="68" y="350"/>
                      <a:pt x="68" y="350"/>
                      <a:pt x="68" y="350"/>
                    </a:cubicBezTo>
                    <a:cubicBezTo>
                      <a:pt x="74" y="344"/>
                      <a:pt x="74" y="344"/>
                      <a:pt x="74" y="344"/>
                    </a:cubicBezTo>
                    <a:cubicBezTo>
                      <a:pt x="75" y="339"/>
                      <a:pt x="75" y="339"/>
                      <a:pt x="75" y="339"/>
                    </a:cubicBezTo>
                    <a:cubicBezTo>
                      <a:pt x="70" y="330"/>
                      <a:pt x="70" y="330"/>
                      <a:pt x="70" y="330"/>
                    </a:cubicBezTo>
                    <a:cubicBezTo>
                      <a:pt x="62" y="332"/>
                      <a:pt x="62" y="332"/>
                      <a:pt x="62" y="332"/>
                    </a:cubicBezTo>
                    <a:cubicBezTo>
                      <a:pt x="61" y="326"/>
                      <a:pt x="61" y="326"/>
                      <a:pt x="61" y="326"/>
                    </a:cubicBezTo>
                    <a:cubicBezTo>
                      <a:pt x="67" y="319"/>
                      <a:pt x="67" y="319"/>
                      <a:pt x="67" y="319"/>
                    </a:cubicBezTo>
                    <a:cubicBezTo>
                      <a:pt x="64" y="314"/>
                      <a:pt x="64" y="314"/>
                      <a:pt x="64" y="314"/>
                    </a:cubicBezTo>
                    <a:cubicBezTo>
                      <a:pt x="67" y="308"/>
                      <a:pt x="67" y="308"/>
                      <a:pt x="67" y="308"/>
                    </a:cubicBezTo>
                    <a:cubicBezTo>
                      <a:pt x="74" y="305"/>
                      <a:pt x="74" y="305"/>
                      <a:pt x="74" y="305"/>
                    </a:cubicBezTo>
                    <a:cubicBezTo>
                      <a:pt x="74" y="302"/>
                      <a:pt x="74" y="302"/>
                      <a:pt x="74" y="302"/>
                    </a:cubicBezTo>
                    <a:cubicBezTo>
                      <a:pt x="72" y="298"/>
                      <a:pt x="72" y="298"/>
                      <a:pt x="72" y="298"/>
                    </a:cubicBezTo>
                    <a:cubicBezTo>
                      <a:pt x="66" y="299"/>
                      <a:pt x="66" y="299"/>
                      <a:pt x="66" y="299"/>
                    </a:cubicBezTo>
                    <a:cubicBezTo>
                      <a:pt x="61" y="295"/>
                      <a:pt x="61" y="295"/>
                      <a:pt x="61" y="295"/>
                    </a:cubicBezTo>
                    <a:cubicBezTo>
                      <a:pt x="55" y="281"/>
                      <a:pt x="55" y="281"/>
                      <a:pt x="55" y="281"/>
                    </a:cubicBezTo>
                    <a:cubicBezTo>
                      <a:pt x="54" y="279"/>
                      <a:pt x="54" y="279"/>
                      <a:pt x="54" y="279"/>
                    </a:cubicBezTo>
                    <a:cubicBezTo>
                      <a:pt x="47" y="281"/>
                      <a:pt x="47" y="281"/>
                      <a:pt x="47" y="281"/>
                    </a:cubicBezTo>
                    <a:cubicBezTo>
                      <a:pt x="45" y="284"/>
                      <a:pt x="45" y="284"/>
                      <a:pt x="45" y="284"/>
                    </a:cubicBezTo>
                    <a:cubicBezTo>
                      <a:pt x="44" y="285"/>
                      <a:pt x="44" y="285"/>
                      <a:pt x="44" y="285"/>
                    </a:cubicBezTo>
                    <a:cubicBezTo>
                      <a:pt x="46" y="287"/>
                      <a:pt x="46" y="287"/>
                      <a:pt x="46" y="287"/>
                    </a:cubicBezTo>
                    <a:cubicBezTo>
                      <a:pt x="53" y="298"/>
                      <a:pt x="53" y="298"/>
                      <a:pt x="53" y="298"/>
                    </a:cubicBezTo>
                    <a:cubicBezTo>
                      <a:pt x="53" y="306"/>
                      <a:pt x="53" y="306"/>
                      <a:pt x="53" y="306"/>
                    </a:cubicBezTo>
                    <a:cubicBezTo>
                      <a:pt x="53" y="308"/>
                      <a:pt x="53" y="308"/>
                      <a:pt x="53" y="308"/>
                    </a:cubicBezTo>
                    <a:cubicBezTo>
                      <a:pt x="49" y="318"/>
                      <a:pt x="49" y="318"/>
                      <a:pt x="49" y="318"/>
                    </a:cubicBezTo>
                    <a:cubicBezTo>
                      <a:pt x="49" y="324"/>
                      <a:pt x="49" y="324"/>
                      <a:pt x="49" y="324"/>
                    </a:cubicBezTo>
                    <a:cubicBezTo>
                      <a:pt x="55" y="339"/>
                      <a:pt x="55" y="339"/>
                      <a:pt x="55" y="339"/>
                    </a:cubicBezTo>
                    <a:cubicBezTo>
                      <a:pt x="50" y="344"/>
                      <a:pt x="50" y="344"/>
                      <a:pt x="50" y="344"/>
                    </a:cubicBezTo>
                    <a:cubicBezTo>
                      <a:pt x="46" y="340"/>
                      <a:pt x="46" y="340"/>
                      <a:pt x="46" y="340"/>
                    </a:cubicBezTo>
                    <a:cubicBezTo>
                      <a:pt x="44" y="329"/>
                      <a:pt x="44" y="329"/>
                      <a:pt x="44" y="329"/>
                    </a:cubicBezTo>
                    <a:cubicBezTo>
                      <a:pt x="37" y="330"/>
                      <a:pt x="37" y="330"/>
                      <a:pt x="37" y="330"/>
                    </a:cubicBezTo>
                    <a:lnTo>
                      <a:pt x="34" y="326"/>
                    </a:lnTo>
                    <a:close/>
                    <a:moveTo>
                      <a:pt x="534" y="888"/>
                    </a:moveTo>
                    <a:cubicBezTo>
                      <a:pt x="541" y="885"/>
                      <a:pt x="541" y="885"/>
                      <a:pt x="541" y="885"/>
                    </a:cubicBezTo>
                    <a:cubicBezTo>
                      <a:pt x="553" y="863"/>
                      <a:pt x="553" y="863"/>
                      <a:pt x="553" y="863"/>
                    </a:cubicBezTo>
                    <a:cubicBezTo>
                      <a:pt x="559" y="850"/>
                      <a:pt x="559" y="850"/>
                      <a:pt x="559" y="850"/>
                    </a:cubicBezTo>
                    <a:cubicBezTo>
                      <a:pt x="556" y="843"/>
                      <a:pt x="556" y="843"/>
                      <a:pt x="556" y="843"/>
                    </a:cubicBezTo>
                    <a:cubicBezTo>
                      <a:pt x="553" y="843"/>
                      <a:pt x="553" y="843"/>
                      <a:pt x="553" y="843"/>
                    </a:cubicBezTo>
                    <a:cubicBezTo>
                      <a:pt x="542" y="858"/>
                      <a:pt x="542" y="858"/>
                      <a:pt x="542" y="858"/>
                    </a:cubicBezTo>
                    <a:cubicBezTo>
                      <a:pt x="536" y="862"/>
                      <a:pt x="536" y="862"/>
                      <a:pt x="536" y="862"/>
                    </a:cubicBezTo>
                    <a:cubicBezTo>
                      <a:pt x="535" y="867"/>
                      <a:pt x="535" y="867"/>
                      <a:pt x="535" y="867"/>
                    </a:cubicBezTo>
                    <a:cubicBezTo>
                      <a:pt x="527" y="877"/>
                      <a:pt x="527" y="877"/>
                      <a:pt x="527" y="877"/>
                    </a:cubicBezTo>
                    <a:cubicBezTo>
                      <a:pt x="523" y="877"/>
                      <a:pt x="523" y="877"/>
                      <a:pt x="523" y="877"/>
                    </a:cubicBezTo>
                    <a:cubicBezTo>
                      <a:pt x="514" y="888"/>
                      <a:pt x="514" y="888"/>
                      <a:pt x="514" y="888"/>
                    </a:cubicBezTo>
                    <a:cubicBezTo>
                      <a:pt x="517" y="890"/>
                      <a:pt x="517" y="890"/>
                      <a:pt x="517" y="890"/>
                    </a:cubicBezTo>
                    <a:cubicBezTo>
                      <a:pt x="528" y="887"/>
                      <a:pt x="528" y="887"/>
                      <a:pt x="528" y="887"/>
                    </a:cubicBezTo>
                    <a:lnTo>
                      <a:pt x="534" y="888"/>
                    </a:lnTo>
                    <a:close/>
                    <a:moveTo>
                      <a:pt x="444" y="968"/>
                    </a:moveTo>
                    <a:cubicBezTo>
                      <a:pt x="430" y="967"/>
                      <a:pt x="430" y="967"/>
                      <a:pt x="430" y="967"/>
                    </a:cubicBezTo>
                    <a:cubicBezTo>
                      <a:pt x="424" y="967"/>
                      <a:pt x="424" y="967"/>
                      <a:pt x="424" y="967"/>
                    </a:cubicBezTo>
                    <a:cubicBezTo>
                      <a:pt x="411" y="975"/>
                      <a:pt x="411" y="975"/>
                      <a:pt x="411" y="975"/>
                    </a:cubicBezTo>
                    <a:cubicBezTo>
                      <a:pt x="402" y="977"/>
                      <a:pt x="402" y="977"/>
                      <a:pt x="402" y="977"/>
                    </a:cubicBezTo>
                    <a:cubicBezTo>
                      <a:pt x="396" y="984"/>
                      <a:pt x="396" y="984"/>
                      <a:pt x="396" y="984"/>
                    </a:cubicBezTo>
                    <a:cubicBezTo>
                      <a:pt x="395" y="1004"/>
                      <a:pt x="395" y="1004"/>
                      <a:pt x="395" y="1004"/>
                    </a:cubicBezTo>
                    <a:cubicBezTo>
                      <a:pt x="389" y="1016"/>
                      <a:pt x="389" y="1016"/>
                      <a:pt x="389" y="1016"/>
                    </a:cubicBezTo>
                    <a:cubicBezTo>
                      <a:pt x="388" y="1018"/>
                      <a:pt x="388" y="1018"/>
                      <a:pt x="388" y="1018"/>
                    </a:cubicBezTo>
                    <a:cubicBezTo>
                      <a:pt x="395" y="1031"/>
                      <a:pt x="395" y="1031"/>
                      <a:pt x="395" y="1031"/>
                    </a:cubicBezTo>
                    <a:cubicBezTo>
                      <a:pt x="399" y="1054"/>
                      <a:pt x="399" y="1054"/>
                      <a:pt x="399" y="1054"/>
                    </a:cubicBezTo>
                    <a:cubicBezTo>
                      <a:pt x="401" y="1057"/>
                      <a:pt x="401" y="1057"/>
                      <a:pt x="401" y="1057"/>
                    </a:cubicBezTo>
                    <a:cubicBezTo>
                      <a:pt x="408" y="1056"/>
                      <a:pt x="408" y="1056"/>
                      <a:pt x="408" y="1056"/>
                    </a:cubicBezTo>
                    <a:cubicBezTo>
                      <a:pt x="415" y="1052"/>
                      <a:pt x="415" y="1052"/>
                      <a:pt x="415" y="1052"/>
                    </a:cubicBezTo>
                    <a:cubicBezTo>
                      <a:pt x="422" y="1054"/>
                      <a:pt x="422" y="1054"/>
                      <a:pt x="422" y="1054"/>
                    </a:cubicBezTo>
                    <a:cubicBezTo>
                      <a:pt x="426" y="1052"/>
                      <a:pt x="426" y="1052"/>
                      <a:pt x="426" y="1052"/>
                    </a:cubicBezTo>
                    <a:cubicBezTo>
                      <a:pt x="428" y="1047"/>
                      <a:pt x="428" y="1047"/>
                      <a:pt x="428" y="1047"/>
                    </a:cubicBezTo>
                    <a:cubicBezTo>
                      <a:pt x="425" y="1039"/>
                      <a:pt x="425" y="1039"/>
                      <a:pt x="425" y="1039"/>
                    </a:cubicBezTo>
                    <a:cubicBezTo>
                      <a:pt x="430" y="1031"/>
                      <a:pt x="430" y="1031"/>
                      <a:pt x="430" y="1031"/>
                    </a:cubicBezTo>
                    <a:cubicBezTo>
                      <a:pt x="433" y="1025"/>
                      <a:pt x="433" y="1025"/>
                      <a:pt x="433" y="1025"/>
                    </a:cubicBezTo>
                    <a:cubicBezTo>
                      <a:pt x="435" y="1019"/>
                      <a:pt x="435" y="1019"/>
                      <a:pt x="435" y="1019"/>
                    </a:cubicBezTo>
                    <a:cubicBezTo>
                      <a:pt x="439" y="1015"/>
                      <a:pt x="439" y="1015"/>
                      <a:pt x="439" y="1015"/>
                    </a:cubicBezTo>
                    <a:cubicBezTo>
                      <a:pt x="439" y="1001"/>
                      <a:pt x="439" y="1001"/>
                      <a:pt x="439" y="1001"/>
                    </a:cubicBezTo>
                    <a:cubicBezTo>
                      <a:pt x="445" y="988"/>
                      <a:pt x="445" y="988"/>
                      <a:pt x="445" y="988"/>
                    </a:cubicBezTo>
                    <a:cubicBezTo>
                      <a:pt x="444" y="981"/>
                      <a:pt x="444" y="981"/>
                      <a:pt x="444" y="981"/>
                    </a:cubicBezTo>
                    <a:cubicBezTo>
                      <a:pt x="447" y="973"/>
                      <a:pt x="447" y="973"/>
                      <a:pt x="447" y="973"/>
                    </a:cubicBezTo>
                    <a:lnTo>
                      <a:pt x="444" y="968"/>
                    </a:lnTo>
                    <a:close/>
                  </a:path>
                </a:pathLst>
              </a:custGeom>
              <a:solidFill>
                <a:srgbClr val="0000B4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1" name="Freeform 16">
                <a:extLst>
                  <a:ext uri="{FF2B5EF4-FFF2-40B4-BE49-F238E27FC236}">
                    <a16:creationId xmlns:a16="http://schemas.microsoft.com/office/drawing/2014/main" id="{964A0C7F-31BB-48BE-AE70-149F0BE608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9464" y="1651001"/>
                <a:ext cx="1560513" cy="1517651"/>
              </a:xfrm>
              <a:custGeom>
                <a:avLst/>
                <a:gdLst>
                  <a:gd name="T0" fmla="*/ 315 w 931"/>
                  <a:gd name="T1" fmla="*/ 749 h 908"/>
                  <a:gd name="T2" fmla="*/ 357 w 931"/>
                  <a:gd name="T3" fmla="*/ 761 h 908"/>
                  <a:gd name="T4" fmla="*/ 316 w 931"/>
                  <a:gd name="T5" fmla="*/ 695 h 908"/>
                  <a:gd name="T6" fmla="*/ 281 w 931"/>
                  <a:gd name="T7" fmla="*/ 642 h 908"/>
                  <a:gd name="T8" fmla="*/ 259 w 931"/>
                  <a:gd name="T9" fmla="*/ 617 h 908"/>
                  <a:gd name="T10" fmla="*/ 290 w 931"/>
                  <a:gd name="T11" fmla="*/ 559 h 908"/>
                  <a:gd name="T12" fmla="*/ 352 w 931"/>
                  <a:gd name="T13" fmla="*/ 559 h 908"/>
                  <a:gd name="T14" fmla="*/ 358 w 931"/>
                  <a:gd name="T15" fmla="*/ 541 h 908"/>
                  <a:gd name="T16" fmla="*/ 406 w 931"/>
                  <a:gd name="T17" fmla="*/ 540 h 908"/>
                  <a:gd name="T18" fmla="*/ 431 w 931"/>
                  <a:gd name="T19" fmla="*/ 520 h 908"/>
                  <a:gd name="T20" fmla="*/ 467 w 931"/>
                  <a:gd name="T21" fmla="*/ 511 h 908"/>
                  <a:gd name="T22" fmla="*/ 441 w 931"/>
                  <a:gd name="T23" fmla="*/ 474 h 908"/>
                  <a:gd name="T24" fmla="*/ 414 w 931"/>
                  <a:gd name="T25" fmla="*/ 478 h 908"/>
                  <a:gd name="T26" fmla="*/ 380 w 931"/>
                  <a:gd name="T27" fmla="*/ 526 h 908"/>
                  <a:gd name="T28" fmla="*/ 327 w 931"/>
                  <a:gd name="T29" fmla="*/ 499 h 908"/>
                  <a:gd name="T30" fmla="*/ 262 w 931"/>
                  <a:gd name="T31" fmla="*/ 457 h 908"/>
                  <a:gd name="T32" fmla="*/ 284 w 931"/>
                  <a:gd name="T33" fmla="*/ 432 h 908"/>
                  <a:gd name="T34" fmla="*/ 273 w 931"/>
                  <a:gd name="T35" fmla="*/ 387 h 908"/>
                  <a:gd name="T36" fmla="*/ 312 w 931"/>
                  <a:gd name="T37" fmla="*/ 353 h 908"/>
                  <a:gd name="T38" fmla="*/ 364 w 931"/>
                  <a:gd name="T39" fmla="*/ 332 h 908"/>
                  <a:gd name="T40" fmla="*/ 344 w 931"/>
                  <a:gd name="T41" fmla="*/ 280 h 908"/>
                  <a:gd name="T42" fmla="*/ 349 w 931"/>
                  <a:gd name="T43" fmla="*/ 258 h 908"/>
                  <a:gd name="T44" fmla="*/ 336 w 931"/>
                  <a:gd name="T45" fmla="*/ 144 h 908"/>
                  <a:gd name="T46" fmla="*/ 355 w 931"/>
                  <a:gd name="T47" fmla="*/ 138 h 908"/>
                  <a:gd name="T48" fmla="*/ 459 w 931"/>
                  <a:gd name="T49" fmla="*/ 96 h 908"/>
                  <a:gd name="T50" fmla="*/ 525 w 931"/>
                  <a:gd name="T51" fmla="*/ 108 h 908"/>
                  <a:gd name="T52" fmla="*/ 671 w 931"/>
                  <a:gd name="T53" fmla="*/ 257 h 908"/>
                  <a:gd name="T54" fmla="*/ 862 w 931"/>
                  <a:gd name="T55" fmla="*/ 349 h 908"/>
                  <a:gd name="T56" fmla="*/ 893 w 931"/>
                  <a:gd name="T57" fmla="*/ 438 h 908"/>
                  <a:gd name="T58" fmla="*/ 856 w 931"/>
                  <a:gd name="T59" fmla="*/ 588 h 908"/>
                  <a:gd name="T60" fmla="*/ 920 w 931"/>
                  <a:gd name="T61" fmla="*/ 735 h 908"/>
                  <a:gd name="T62" fmla="*/ 830 w 931"/>
                  <a:gd name="T63" fmla="*/ 841 h 908"/>
                  <a:gd name="T64" fmla="*/ 825 w 931"/>
                  <a:gd name="T65" fmla="*/ 882 h 908"/>
                  <a:gd name="T66" fmla="*/ 768 w 931"/>
                  <a:gd name="T67" fmla="*/ 904 h 908"/>
                  <a:gd name="T68" fmla="*/ 700 w 931"/>
                  <a:gd name="T69" fmla="*/ 864 h 908"/>
                  <a:gd name="T70" fmla="*/ 569 w 931"/>
                  <a:gd name="T71" fmla="*/ 819 h 908"/>
                  <a:gd name="T72" fmla="*/ 519 w 931"/>
                  <a:gd name="T73" fmla="*/ 812 h 908"/>
                  <a:gd name="T74" fmla="*/ 473 w 931"/>
                  <a:gd name="T75" fmla="*/ 816 h 908"/>
                  <a:gd name="T76" fmla="*/ 371 w 931"/>
                  <a:gd name="T77" fmla="*/ 831 h 908"/>
                  <a:gd name="T78" fmla="*/ 289 w 931"/>
                  <a:gd name="T79" fmla="*/ 795 h 908"/>
                  <a:gd name="T80" fmla="*/ 283 w 931"/>
                  <a:gd name="T81" fmla="*/ 732 h 908"/>
                  <a:gd name="T82" fmla="*/ 36 w 931"/>
                  <a:gd name="T83" fmla="*/ 402 h 908"/>
                  <a:gd name="T84" fmla="*/ 1 w 931"/>
                  <a:gd name="T85" fmla="*/ 453 h 908"/>
                  <a:gd name="T86" fmla="*/ 33 w 931"/>
                  <a:gd name="T87" fmla="*/ 505 h 908"/>
                  <a:gd name="T88" fmla="*/ 65 w 931"/>
                  <a:gd name="T89" fmla="*/ 532 h 908"/>
                  <a:gd name="T90" fmla="*/ 91 w 931"/>
                  <a:gd name="T91" fmla="*/ 526 h 908"/>
                  <a:gd name="T92" fmla="*/ 143 w 931"/>
                  <a:gd name="T93" fmla="*/ 534 h 908"/>
                  <a:gd name="T94" fmla="*/ 154 w 931"/>
                  <a:gd name="T95" fmla="*/ 514 h 908"/>
                  <a:gd name="T96" fmla="*/ 210 w 931"/>
                  <a:gd name="T97" fmla="*/ 514 h 908"/>
                  <a:gd name="T98" fmla="*/ 213 w 931"/>
                  <a:gd name="T99" fmla="*/ 458 h 908"/>
                  <a:gd name="T100" fmla="*/ 176 w 931"/>
                  <a:gd name="T101" fmla="*/ 433 h 908"/>
                  <a:gd name="T102" fmla="*/ 141 w 931"/>
                  <a:gd name="T103" fmla="*/ 431 h 908"/>
                  <a:gd name="T104" fmla="*/ 118 w 931"/>
                  <a:gd name="T105" fmla="*/ 417 h 908"/>
                  <a:gd name="T106" fmla="*/ 66 w 931"/>
                  <a:gd name="T107" fmla="*/ 394 h 908"/>
                  <a:gd name="T108" fmla="*/ 251 w 931"/>
                  <a:gd name="T109" fmla="*/ 23 h 908"/>
                  <a:gd name="T110" fmla="*/ 229 w 931"/>
                  <a:gd name="T111" fmla="*/ 30 h 908"/>
                  <a:gd name="T112" fmla="*/ 235 w 931"/>
                  <a:gd name="T113" fmla="*/ 548 h 908"/>
                  <a:gd name="T114" fmla="*/ 250 w 931"/>
                  <a:gd name="T115" fmla="*/ 736 h 9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31" h="908">
                    <a:moveTo>
                      <a:pt x="299" y="801"/>
                    </a:moveTo>
                    <a:cubicBezTo>
                      <a:pt x="306" y="800"/>
                      <a:pt x="306" y="800"/>
                      <a:pt x="306" y="800"/>
                    </a:cubicBezTo>
                    <a:cubicBezTo>
                      <a:pt x="307" y="784"/>
                      <a:pt x="307" y="784"/>
                      <a:pt x="307" y="784"/>
                    </a:cubicBezTo>
                    <a:cubicBezTo>
                      <a:pt x="315" y="781"/>
                      <a:pt x="315" y="781"/>
                      <a:pt x="315" y="781"/>
                    </a:cubicBezTo>
                    <a:cubicBezTo>
                      <a:pt x="319" y="777"/>
                      <a:pt x="319" y="777"/>
                      <a:pt x="319" y="777"/>
                    </a:cubicBezTo>
                    <a:cubicBezTo>
                      <a:pt x="312" y="767"/>
                      <a:pt x="312" y="767"/>
                      <a:pt x="312" y="767"/>
                    </a:cubicBezTo>
                    <a:cubicBezTo>
                      <a:pt x="315" y="749"/>
                      <a:pt x="315" y="749"/>
                      <a:pt x="315" y="749"/>
                    </a:cubicBezTo>
                    <a:cubicBezTo>
                      <a:pt x="327" y="757"/>
                      <a:pt x="327" y="757"/>
                      <a:pt x="327" y="757"/>
                    </a:cubicBezTo>
                    <a:cubicBezTo>
                      <a:pt x="325" y="763"/>
                      <a:pt x="325" y="763"/>
                      <a:pt x="325" y="763"/>
                    </a:cubicBezTo>
                    <a:cubicBezTo>
                      <a:pt x="327" y="769"/>
                      <a:pt x="327" y="769"/>
                      <a:pt x="327" y="769"/>
                    </a:cubicBezTo>
                    <a:cubicBezTo>
                      <a:pt x="336" y="776"/>
                      <a:pt x="336" y="776"/>
                      <a:pt x="336" y="776"/>
                    </a:cubicBezTo>
                    <a:cubicBezTo>
                      <a:pt x="343" y="775"/>
                      <a:pt x="343" y="775"/>
                      <a:pt x="343" y="775"/>
                    </a:cubicBezTo>
                    <a:cubicBezTo>
                      <a:pt x="357" y="766"/>
                      <a:pt x="357" y="766"/>
                      <a:pt x="357" y="766"/>
                    </a:cubicBezTo>
                    <a:cubicBezTo>
                      <a:pt x="357" y="761"/>
                      <a:pt x="357" y="761"/>
                      <a:pt x="357" y="761"/>
                    </a:cubicBezTo>
                    <a:cubicBezTo>
                      <a:pt x="351" y="747"/>
                      <a:pt x="351" y="747"/>
                      <a:pt x="351" y="747"/>
                    </a:cubicBezTo>
                    <a:cubicBezTo>
                      <a:pt x="351" y="734"/>
                      <a:pt x="351" y="734"/>
                      <a:pt x="351" y="734"/>
                    </a:cubicBezTo>
                    <a:cubicBezTo>
                      <a:pt x="351" y="731"/>
                      <a:pt x="351" y="731"/>
                      <a:pt x="351" y="731"/>
                    </a:cubicBezTo>
                    <a:cubicBezTo>
                      <a:pt x="340" y="713"/>
                      <a:pt x="340" y="713"/>
                      <a:pt x="340" y="713"/>
                    </a:cubicBezTo>
                    <a:cubicBezTo>
                      <a:pt x="333" y="710"/>
                      <a:pt x="333" y="710"/>
                      <a:pt x="333" y="710"/>
                    </a:cubicBezTo>
                    <a:cubicBezTo>
                      <a:pt x="330" y="712"/>
                      <a:pt x="330" y="712"/>
                      <a:pt x="330" y="712"/>
                    </a:cubicBezTo>
                    <a:cubicBezTo>
                      <a:pt x="316" y="695"/>
                      <a:pt x="316" y="695"/>
                      <a:pt x="316" y="695"/>
                    </a:cubicBezTo>
                    <a:cubicBezTo>
                      <a:pt x="317" y="688"/>
                      <a:pt x="317" y="688"/>
                      <a:pt x="317" y="688"/>
                    </a:cubicBezTo>
                    <a:cubicBezTo>
                      <a:pt x="314" y="679"/>
                      <a:pt x="314" y="679"/>
                      <a:pt x="314" y="679"/>
                    </a:cubicBezTo>
                    <a:cubicBezTo>
                      <a:pt x="301" y="659"/>
                      <a:pt x="301" y="659"/>
                      <a:pt x="301" y="659"/>
                    </a:cubicBezTo>
                    <a:cubicBezTo>
                      <a:pt x="289" y="648"/>
                      <a:pt x="289" y="648"/>
                      <a:pt x="289" y="648"/>
                    </a:cubicBezTo>
                    <a:cubicBezTo>
                      <a:pt x="282" y="648"/>
                      <a:pt x="282" y="648"/>
                      <a:pt x="282" y="648"/>
                    </a:cubicBezTo>
                    <a:cubicBezTo>
                      <a:pt x="279" y="645"/>
                      <a:pt x="279" y="645"/>
                      <a:pt x="279" y="645"/>
                    </a:cubicBezTo>
                    <a:cubicBezTo>
                      <a:pt x="281" y="642"/>
                      <a:pt x="281" y="642"/>
                      <a:pt x="281" y="642"/>
                    </a:cubicBezTo>
                    <a:cubicBezTo>
                      <a:pt x="293" y="642"/>
                      <a:pt x="293" y="642"/>
                      <a:pt x="293" y="642"/>
                    </a:cubicBezTo>
                    <a:cubicBezTo>
                      <a:pt x="290" y="624"/>
                      <a:pt x="290" y="624"/>
                      <a:pt x="290" y="624"/>
                    </a:cubicBezTo>
                    <a:cubicBezTo>
                      <a:pt x="288" y="621"/>
                      <a:pt x="288" y="621"/>
                      <a:pt x="288" y="621"/>
                    </a:cubicBezTo>
                    <a:cubicBezTo>
                      <a:pt x="274" y="625"/>
                      <a:pt x="274" y="625"/>
                      <a:pt x="274" y="625"/>
                    </a:cubicBezTo>
                    <a:cubicBezTo>
                      <a:pt x="269" y="621"/>
                      <a:pt x="269" y="621"/>
                      <a:pt x="269" y="621"/>
                    </a:cubicBezTo>
                    <a:cubicBezTo>
                      <a:pt x="262" y="621"/>
                      <a:pt x="262" y="621"/>
                      <a:pt x="262" y="621"/>
                    </a:cubicBezTo>
                    <a:cubicBezTo>
                      <a:pt x="259" y="617"/>
                      <a:pt x="259" y="617"/>
                      <a:pt x="259" y="617"/>
                    </a:cubicBezTo>
                    <a:cubicBezTo>
                      <a:pt x="260" y="612"/>
                      <a:pt x="260" y="612"/>
                      <a:pt x="260" y="612"/>
                    </a:cubicBezTo>
                    <a:cubicBezTo>
                      <a:pt x="270" y="600"/>
                      <a:pt x="270" y="600"/>
                      <a:pt x="270" y="600"/>
                    </a:cubicBezTo>
                    <a:cubicBezTo>
                      <a:pt x="270" y="584"/>
                      <a:pt x="270" y="584"/>
                      <a:pt x="270" y="584"/>
                    </a:cubicBezTo>
                    <a:cubicBezTo>
                      <a:pt x="267" y="571"/>
                      <a:pt x="267" y="571"/>
                      <a:pt x="267" y="571"/>
                    </a:cubicBezTo>
                    <a:cubicBezTo>
                      <a:pt x="270" y="565"/>
                      <a:pt x="270" y="565"/>
                      <a:pt x="270" y="565"/>
                    </a:cubicBezTo>
                    <a:cubicBezTo>
                      <a:pt x="284" y="564"/>
                      <a:pt x="284" y="564"/>
                      <a:pt x="284" y="564"/>
                    </a:cubicBezTo>
                    <a:cubicBezTo>
                      <a:pt x="290" y="559"/>
                      <a:pt x="290" y="559"/>
                      <a:pt x="290" y="559"/>
                    </a:cubicBezTo>
                    <a:cubicBezTo>
                      <a:pt x="294" y="560"/>
                      <a:pt x="294" y="560"/>
                      <a:pt x="294" y="560"/>
                    </a:cubicBezTo>
                    <a:cubicBezTo>
                      <a:pt x="299" y="570"/>
                      <a:pt x="299" y="570"/>
                      <a:pt x="299" y="570"/>
                    </a:cubicBezTo>
                    <a:cubicBezTo>
                      <a:pt x="306" y="575"/>
                      <a:pt x="306" y="575"/>
                      <a:pt x="306" y="575"/>
                    </a:cubicBezTo>
                    <a:cubicBezTo>
                      <a:pt x="319" y="573"/>
                      <a:pt x="319" y="573"/>
                      <a:pt x="319" y="573"/>
                    </a:cubicBezTo>
                    <a:cubicBezTo>
                      <a:pt x="338" y="558"/>
                      <a:pt x="338" y="558"/>
                      <a:pt x="338" y="558"/>
                    </a:cubicBezTo>
                    <a:cubicBezTo>
                      <a:pt x="351" y="566"/>
                      <a:pt x="351" y="566"/>
                      <a:pt x="351" y="566"/>
                    </a:cubicBezTo>
                    <a:cubicBezTo>
                      <a:pt x="352" y="559"/>
                      <a:pt x="352" y="559"/>
                      <a:pt x="352" y="559"/>
                    </a:cubicBezTo>
                    <a:cubicBezTo>
                      <a:pt x="346" y="544"/>
                      <a:pt x="346" y="544"/>
                      <a:pt x="346" y="544"/>
                    </a:cubicBezTo>
                    <a:cubicBezTo>
                      <a:pt x="345" y="543"/>
                      <a:pt x="345" y="543"/>
                      <a:pt x="345" y="543"/>
                    </a:cubicBezTo>
                    <a:cubicBezTo>
                      <a:pt x="335" y="534"/>
                      <a:pt x="335" y="534"/>
                      <a:pt x="335" y="534"/>
                    </a:cubicBezTo>
                    <a:cubicBezTo>
                      <a:pt x="347" y="533"/>
                      <a:pt x="347" y="533"/>
                      <a:pt x="347" y="533"/>
                    </a:cubicBezTo>
                    <a:cubicBezTo>
                      <a:pt x="349" y="531"/>
                      <a:pt x="349" y="531"/>
                      <a:pt x="349" y="531"/>
                    </a:cubicBezTo>
                    <a:cubicBezTo>
                      <a:pt x="352" y="531"/>
                      <a:pt x="352" y="531"/>
                      <a:pt x="352" y="531"/>
                    </a:cubicBezTo>
                    <a:cubicBezTo>
                      <a:pt x="358" y="541"/>
                      <a:pt x="358" y="541"/>
                      <a:pt x="358" y="541"/>
                    </a:cubicBezTo>
                    <a:cubicBezTo>
                      <a:pt x="367" y="544"/>
                      <a:pt x="367" y="544"/>
                      <a:pt x="367" y="544"/>
                    </a:cubicBezTo>
                    <a:cubicBezTo>
                      <a:pt x="375" y="555"/>
                      <a:pt x="375" y="555"/>
                      <a:pt x="375" y="555"/>
                    </a:cubicBezTo>
                    <a:cubicBezTo>
                      <a:pt x="381" y="555"/>
                      <a:pt x="381" y="555"/>
                      <a:pt x="381" y="555"/>
                    </a:cubicBezTo>
                    <a:cubicBezTo>
                      <a:pt x="385" y="549"/>
                      <a:pt x="385" y="549"/>
                      <a:pt x="385" y="549"/>
                    </a:cubicBezTo>
                    <a:cubicBezTo>
                      <a:pt x="395" y="545"/>
                      <a:pt x="395" y="545"/>
                      <a:pt x="395" y="545"/>
                    </a:cubicBezTo>
                    <a:cubicBezTo>
                      <a:pt x="403" y="551"/>
                      <a:pt x="403" y="551"/>
                      <a:pt x="403" y="551"/>
                    </a:cubicBezTo>
                    <a:cubicBezTo>
                      <a:pt x="406" y="540"/>
                      <a:pt x="406" y="540"/>
                      <a:pt x="406" y="540"/>
                    </a:cubicBezTo>
                    <a:cubicBezTo>
                      <a:pt x="414" y="535"/>
                      <a:pt x="414" y="535"/>
                      <a:pt x="414" y="535"/>
                    </a:cubicBezTo>
                    <a:cubicBezTo>
                      <a:pt x="416" y="529"/>
                      <a:pt x="416" y="529"/>
                      <a:pt x="416" y="529"/>
                    </a:cubicBezTo>
                    <a:cubicBezTo>
                      <a:pt x="407" y="515"/>
                      <a:pt x="407" y="515"/>
                      <a:pt x="407" y="515"/>
                    </a:cubicBezTo>
                    <a:cubicBezTo>
                      <a:pt x="410" y="513"/>
                      <a:pt x="410" y="513"/>
                      <a:pt x="410" y="513"/>
                    </a:cubicBezTo>
                    <a:cubicBezTo>
                      <a:pt x="419" y="516"/>
                      <a:pt x="419" y="516"/>
                      <a:pt x="419" y="516"/>
                    </a:cubicBezTo>
                    <a:cubicBezTo>
                      <a:pt x="423" y="512"/>
                      <a:pt x="423" y="512"/>
                      <a:pt x="423" y="512"/>
                    </a:cubicBezTo>
                    <a:cubicBezTo>
                      <a:pt x="431" y="520"/>
                      <a:pt x="431" y="520"/>
                      <a:pt x="431" y="520"/>
                    </a:cubicBezTo>
                    <a:cubicBezTo>
                      <a:pt x="436" y="518"/>
                      <a:pt x="436" y="518"/>
                      <a:pt x="436" y="518"/>
                    </a:cubicBezTo>
                    <a:cubicBezTo>
                      <a:pt x="440" y="518"/>
                      <a:pt x="440" y="518"/>
                      <a:pt x="440" y="518"/>
                    </a:cubicBezTo>
                    <a:cubicBezTo>
                      <a:pt x="445" y="529"/>
                      <a:pt x="445" y="529"/>
                      <a:pt x="445" y="529"/>
                    </a:cubicBezTo>
                    <a:cubicBezTo>
                      <a:pt x="453" y="533"/>
                      <a:pt x="453" y="533"/>
                      <a:pt x="453" y="533"/>
                    </a:cubicBezTo>
                    <a:cubicBezTo>
                      <a:pt x="461" y="528"/>
                      <a:pt x="461" y="528"/>
                      <a:pt x="461" y="528"/>
                    </a:cubicBezTo>
                    <a:cubicBezTo>
                      <a:pt x="463" y="518"/>
                      <a:pt x="463" y="518"/>
                      <a:pt x="463" y="518"/>
                    </a:cubicBezTo>
                    <a:cubicBezTo>
                      <a:pt x="467" y="511"/>
                      <a:pt x="467" y="511"/>
                      <a:pt x="467" y="511"/>
                    </a:cubicBezTo>
                    <a:cubicBezTo>
                      <a:pt x="462" y="495"/>
                      <a:pt x="462" y="495"/>
                      <a:pt x="462" y="495"/>
                    </a:cubicBezTo>
                    <a:cubicBezTo>
                      <a:pt x="452" y="494"/>
                      <a:pt x="452" y="494"/>
                      <a:pt x="452" y="494"/>
                    </a:cubicBezTo>
                    <a:cubicBezTo>
                      <a:pt x="449" y="491"/>
                      <a:pt x="449" y="491"/>
                      <a:pt x="449" y="491"/>
                    </a:cubicBezTo>
                    <a:cubicBezTo>
                      <a:pt x="457" y="484"/>
                      <a:pt x="457" y="484"/>
                      <a:pt x="457" y="484"/>
                    </a:cubicBezTo>
                    <a:cubicBezTo>
                      <a:pt x="453" y="478"/>
                      <a:pt x="453" y="478"/>
                      <a:pt x="453" y="478"/>
                    </a:cubicBezTo>
                    <a:cubicBezTo>
                      <a:pt x="448" y="478"/>
                      <a:pt x="448" y="478"/>
                      <a:pt x="448" y="478"/>
                    </a:cubicBezTo>
                    <a:cubicBezTo>
                      <a:pt x="441" y="474"/>
                      <a:pt x="441" y="474"/>
                      <a:pt x="441" y="474"/>
                    </a:cubicBezTo>
                    <a:cubicBezTo>
                      <a:pt x="439" y="468"/>
                      <a:pt x="439" y="468"/>
                      <a:pt x="439" y="468"/>
                    </a:cubicBezTo>
                    <a:cubicBezTo>
                      <a:pt x="426" y="467"/>
                      <a:pt x="426" y="467"/>
                      <a:pt x="426" y="467"/>
                    </a:cubicBezTo>
                    <a:cubicBezTo>
                      <a:pt x="423" y="478"/>
                      <a:pt x="423" y="478"/>
                      <a:pt x="423" y="478"/>
                    </a:cubicBezTo>
                    <a:cubicBezTo>
                      <a:pt x="438" y="500"/>
                      <a:pt x="438" y="500"/>
                      <a:pt x="438" y="500"/>
                    </a:cubicBezTo>
                    <a:cubicBezTo>
                      <a:pt x="436" y="505"/>
                      <a:pt x="436" y="505"/>
                      <a:pt x="436" y="505"/>
                    </a:cubicBezTo>
                    <a:cubicBezTo>
                      <a:pt x="428" y="499"/>
                      <a:pt x="428" y="499"/>
                      <a:pt x="428" y="499"/>
                    </a:cubicBezTo>
                    <a:cubicBezTo>
                      <a:pt x="414" y="478"/>
                      <a:pt x="414" y="478"/>
                      <a:pt x="414" y="478"/>
                    </a:cubicBezTo>
                    <a:cubicBezTo>
                      <a:pt x="409" y="471"/>
                      <a:pt x="409" y="471"/>
                      <a:pt x="409" y="471"/>
                    </a:cubicBezTo>
                    <a:cubicBezTo>
                      <a:pt x="402" y="474"/>
                      <a:pt x="402" y="474"/>
                      <a:pt x="402" y="474"/>
                    </a:cubicBezTo>
                    <a:cubicBezTo>
                      <a:pt x="395" y="465"/>
                      <a:pt x="395" y="465"/>
                      <a:pt x="395" y="465"/>
                    </a:cubicBezTo>
                    <a:cubicBezTo>
                      <a:pt x="385" y="476"/>
                      <a:pt x="385" y="476"/>
                      <a:pt x="385" y="476"/>
                    </a:cubicBezTo>
                    <a:cubicBezTo>
                      <a:pt x="388" y="512"/>
                      <a:pt x="388" y="512"/>
                      <a:pt x="388" y="512"/>
                    </a:cubicBezTo>
                    <a:cubicBezTo>
                      <a:pt x="381" y="524"/>
                      <a:pt x="381" y="524"/>
                      <a:pt x="381" y="524"/>
                    </a:cubicBezTo>
                    <a:cubicBezTo>
                      <a:pt x="380" y="526"/>
                      <a:pt x="380" y="526"/>
                      <a:pt x="380" y="526"/>
                    </a:cubicBezTo>
                    <a:cubicBezTo>
                      <a:pt x="371" y="528"/>
                      <a:pt x="371" y="528"/>
                      <a:pt x="371" y="528"/>
                    </a:cubicBezTo>
                    <a:cubicBezTo>
                      <a:pt x="371" y="526"/>
                      <a:pt x="371" y="526"/>
                      <a:pt x="371" y="526"/>
                    </a:cubicBezTo>
                    <a:cubicBezTo>
                      <a:pt x="369" y="515"/>
                      <a:pt x="369" y="515"/>
                      <a:pt x="369" y="515"/>
                    </a:cubicBezTo>
                    <a:cubicBezTo>
                      <a:pt x="364" y="511"/>
                      <a:pt x="364" y="511"/>
                      <a:pt x="364" y="511"/>
                    </a:cubicBezTo>
                    <a:cubicBezTo>
                      <a:pt x="350" y="511"/>
                      <a:pt x="350" y="511"/>
                      <a:pt x="350" y="511"/>
                    </a:cubicBezTo>
                    <a:cubicBezTo>
                      <a:pt x="337" y="496"/>
                      <a:pt x="337" y="496"/>
                      <a:pt x="337" y="496"/>
                    </a:cubicBezTo>
                    <a:cubicBezTo>
                      <a:pt x="327" y="499"/>
                      <a:pt x="327" y="499"/>
                      <a:pt x="327" y="499"/>
                    </a:cubicBezTo>
                    <a:cubicBezTo>
                      <a:pt x="317" y="506"/>
                      <a:pt x="317" y="506"/>
                      <a:pt x="317" y="506"/>
                    </a:cubicBezTo>
                    <a:cubicBezTo>
                      <a:pt x="311" y="506"/>
                      <a:pt x="311" y="506"/>
                      <a:pt x="311" y="506"/>
                    </a:cubicBezTo>
                    <a:cubicBezTo>
                      <a:pt x="301" y="500"/>
                      <a:pt x="301" y="500"/>
                      <a:pt x="301" y="500"/>
                    </a:cubicBezTo>
                    <a:cubicBezTo>
                      <a:pt x="298" y="498"/>
                      <a:pt x="298" y="498"/>
                      <a:pt x="298" y="498"/>
                    </a:cubicBezTo>
                    <a:cubicBezTo>
                      <a:pt x="291" y="492"/>
                      <a:pt x="291" y="492"/>
                      <a:pt x="291" y="492"/>
                    </a:cubicBezTo>
                    <a:cubicBezTo>
                      <a:pt x="275" y="468"/>
                      <a:pt x="275" y="468"/>
                      <a:pt x="275" y="468"/>
                    </a:cubicBezTo>
                    <a:cubicBezTo>
                      <a:pt x="262" y="457"/>
                      <a:pt x="262" y="457"/>
                      <a:pt x="262" y="457"/>
                    </a:cubicBezTo>
                    <a:cubicBezTo>
                      <a:pt x="261" y="454"/>
                      <a:pt x="261" y="454"/>
                      <a:pt x="261" y="454"/>
                    </a:cubicBezTo>
                    <a:cubicBezTo>
                      <a:pt x="253" y="434"/>
                      <a:pt x="253" y="434"/>
                      <a:pt x="253" y="434"/>
                    </a:cubicBezTo>
                    <a:cubicBezTo>
                      <a:pt x="254" y="432"/>
                      <a:pt x="254" y="432"/>
                      <a:pt x="254" y="432"/>
                    </a:cubicBezTo>
                    <a:cubicBezTo>
                      <a:pt x="262" y="430"/>
                      <a:pt x="262" y="430"/>
                      <a:pt x="262" y="430"/>
                    </a:cubicBezTo>
                    <a:cubicBezTo>
                      <a:pt x="279" y="440"/>
                      <a:pt x="279" y="440"/>
                      <a:pt x="279" y="440"/>
                    </a:cubicBezTo>
                    <a:cubicBezTo>
                      <a:pt x="282" y="438"/>
                      <a:pt x="282" y="438"/>
                      <a:pt x="282" y="438"/>
                    </a:cubicBezTo>
                    <a:cubicBezTo>
                      <a:pt x="284" y="432"/>
                      <a:pt x="284" y="432"/>
                      <a:pt x="284" y="432"/>
                    </a:cubicBezTo>
                    <a:cubicBezTo>
                      <a:pt x="282" y="429"/>
                      <a:pt x="282" y="429"/>
                      <a:pt x="282" y="429"/>
                    </a:cubicBezTo>
                    <a:cubicBezTo>
                      <a:pt x="287" y="423"/>
                      <a:pt x="287" y="423"/>
                      <a:pt x="287" y="423"/>
                    </a:cubicBezTo>
                    <a:cubicBezTo>
                      <a:pt x="286" y="418"/>
                      <a:pt x="286" y="418"/>
                      <a:pt x="286" y="418"/>
                    </a:cubicBezTo>
                    <a:cubicBezTo>
                      <a:pt x="275" y="409"/>
                      <a:pt x="275" y="409"/>
                      <a:pt x="275" y="409"/>
                    </a:cubicBezTo>
                    <a:cubicBezTo>
                      <a:pt x="273" y="400"/>
                      <a:pt x="273" y="400"/>
                      <a:pt x="273" y="400"/>
                    </a:cubicBezTo>
                    <a:cubicBezTo>
                      <a:pt x="268" y="395"/>
                      <a:pt x="268" y="395"/>
                      <a:pt x="268" y="395"/>
                    </a:cubicBezTo>
                    <a:cubicBezTo>
                      <a:pt x="273" y="387"/>
                      <a:pt x="273" y="387"/>
                      <a:pt x="273" y="387"/>
                    </a:cubicBezTo>
                    <a:cubicBezTo>
                      <a:pt x="273" y="364"/>
                      <a:pt x="273" y="364"/>
                      <a:pt x="273" y="364"/>
                    </a:cubicBezTo>
                    <a:cubicBezTo>
                      <a:pt x="273" y="359"/>
                      <a:pt x="273" y="359"/>
                      <a:pt x="273" y="359"/>
                    </a:cubicBezTo>
                    <a:cubicBezTo>
                      <a:pt x="277" y="357"/>
                      <a:pt x="277" y="357"/>
                      <a:pt x="277" y="357"/>
                    </a:cubicBezTo>
                    <a:cubicBezTo>
                      <a:pt x="293" y="360"/>
                      <a:pt x="293" y="360"/>
                      <a:pt x="293" y="360"/>
                    </a:cubicBezTo>
                    <a:cubicBezTo>
                      <a:pt x="300" y="358"/>
                      <a:pt x="300" y="358"/>
                      <a:pt x="300" y="358"/>
                    </a:cubicBezTo>
                    <a:cubicBezTo>
                      <a:pt x="309" y="360"/>
                      <a:pt x="309" y="360"/>
                      <a:pt x="309" y="360"/>
                    </a:cubicBezTo>
                    <a:cubicBezTo>
                      <a:pt x="312" y="353"/>
                      <a:pt x="312" y="353"/>
                      <a:pt x="312" y="353"/>
                    </a:cubicBezTo>
                    <a:cubicBezTo>
                      <a:pt x="317" y="350"/>
                      <a:pt x="317" y="350"/>
                      <a:pt x="317" y="350"/>
                    </a:cubicBezTo>
                    <a:cubicBezTo>
                      <a:pt x="317" y="341"/>
                      <a:pt x="317" y="341"/>
                      <a:pt x="317" y="341"/>
                    </a:cubicBezTo>
                    <a:cubicBezTo>
                      <a:pt x="325" y="342"/>
                      <a:pt x="325" y="342"/>
                      <a:pt x="325" y="342"/>
                    </a:cubicBezTo>
                    <a:cubicBezTo>
                      <a:pt x="332" y="341"/>
                      <a:pt x="332" y="341"/>
                      <a:pt x="332" y="341"/>
                    </a:cubicBezTo>
                    <a:cubicBezTo>
                      <a:pt x="343" y="329"/>
                      <a:pt x="343" y="329"/>
                      <a:pt x="343" y="329"/>
                    </a:cubicBezTo>
                    <a:cubicBezTo>
                      <a:pt x="359" y="335"/>
                      <a:pt x="359" y="335"/>
                      <a:pt x="359" y="335"/>
                    </a:cubicBezTo>
                    <a:cubicBezTo>
                      <a:pt x="364" y="332"/>
                      <a:pt x="364" y="332"/>
                      <a:pt x="364" y="332"/>
                    </a:cubicBezTo>
                    <a:cubicBezTo>
                      <a:pt x="364" y="327"/>
                      <a:pt x="364" y="327"/>
                      <a:pt x="364" y="327"/>
                    </a:cubicBezTo>
                    <a:cubicBezTo>
                      <a:pt x="364" y="326"/>
                      <a:pt x="364" y="326"/>
                      <a:pt x="364" y="326"/>
                    </a:cubicBezTo>
                    <a:cubicBezTo>
                      <a:pt x="358" y="307"/>
                      <a:pt x="358" y="307"/>
                      <a:pt x="358" y="307"/>
                    </a:cubicBezTo>
                    <a:cubicBezTo>
                      <a:pt x="350" y="284"/>
                      <a:pt x="350" y="284"/>
                      <a:pt x="350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6" y="283"/>
                      <a:pt x="346" y="283"/>
                      <a:pt x="346" y="283"/>
                    </a:cubicBezTo>
                    <a:cubicBezTo>
                      <a:pt x="344" y="280"/>
                      <a:pt x="344" y="280"/>
                      <a:pt x="344" y="280"/>
                    </a:cubicBezTo>
                    <a:cubicBezTo>
                      <a:pt x="345" y="278"/>
                      <a:pt x="345" y="278"/>
                      <a:pt x="345" y="278"/>
                    </a:cubicBezTo>
                    <a:cubicBezTo>
                      <a:pt x="346" y="276"/>
                      <a:pt x="346" y="276"/>
                      <a:pt x="346" y="276"/>
                    </a:cubicBezTo>
                    <a:cubicBezTo>
                      <a:pt x="346" y="274"/>
                      <a:pt x="346" y="274"/>
                      <a:pt x="346" y="274"/>
                    </a:cubicBezTo>
                    <a:cubicBezTo>
                      <a:pt x="345" y="268"/>
                      <a:pt x="345" y="268"/>
                      <a:pt x="345" y="268"/>
                    </a:cubicBezTo>
                    <a:cubicBezTo>
                      <a:pt x="357" y="270"/>
                      <a:pt x="357" y="270"/>
                      <a:pt x="357" y="270"/>
                    </a:cubicBezTo>
                    <a:cubicBezTo>
                      <a:pt x="351" y="261"/>
                      <a:pt x="351" y="261"/>
                      <a:pt x="351" y="261"/>
                    </a:cubicBezTo>
                    <a:cubicBezTo>
                      <a:pt x="349" y="258"/>
                      <a:pt x="349" y="258"/>
                      <a:pt x="349" y="258"/>
                    </a:cubicBezTo>
                    <a:cubicBezTo>
                      <a:pt x="341" y="251"/>
                      <a:pt x="341" y="251"/>
                      <a:pt x="341" y="251"/>
                    </a:cubicBezTo>
                    <a:cubicBezTo>
                      <a:pt x="343" y="231"/>
                      <a:pt x="343" y="231"/>
                      <a:pt x="343" y="231"/>
                    </a:cubicBezTo>
                    <a:cubicBezTo>
                      <a:pt x="339" y="218"/>
                      <a:pt x="339" y="218"/>
                      <a:pt x="339" y="218"/>
                    </a:cubicBezTo>
                    <a:cubicBezTo>
                      <a:pt x="317" y="194"/>
                      <a:pt x="317" y="194"/>
                      <a:pt x="317" y="194"/>
                    </a:cubicBezTo>
                    <a:cubicBezTo>
                      <a:pt x="314" y="185"/>
                      <a:pt x="314" y="185"/>
                      <a:pt x="314" y="185"/>
                    </a:cubicBezTo>
                    <a:cubicBezTo>
                      <a:pt x="324" y="149"/>
                      <a:pt x="324" y="149"/>
                      <a:pt x="324" y="149"/>
                    </a:cubicBezTo>
                    <a:cubicBezTo>
                      <a:pt x="336" y="144"/>
                      <a:pt x="336" y="144"/>
                      <a:pt x="336" y="144"/>
                    </a:cubicBezTo>
                    <a:cubicBezTo>
                      <a:pt x="339" y="140"/>
                      <a:pt x="339" y="140"/>
                      <a:pt x="339" y="140"/>
                    </a:cubicBezTo>
                    <a:cubicBezTo>
                      <a:pt x="339" y="129"/>
                      <a:pt x="339" y="129"/>
                      <a:pt x="339" y="129"/>
                    </a:cubicBezTo>
                    <a:cubicBezTo>
                      <a:pt x="336" y="121"/>
                      <a:pt x="336" y="121"/>
                      <a:pt x="336" y="121"/>
                    </a:cubicBezTo>
                    <a:cubicBezTo>
                      <a:pt x="337" y="117"/>
                      <a:pt x="337" y="117"/>
                      <a:pt x="337" y="117"/>
                    </a:cubicBezTo>
                    <a:cubicBezTo>
                      <a:pt x="342" y="117"/>
                      <a:pt x="342" y="117"/>
                      <a:pt x="342" y="117"/>
                    </a:cubicBezTo>
                    <a:cubicBezTo>
                      <a:pt x="349" y="128"/>
                      <a:pt x="349" y="128"/>
                      <a:pt x="349" y="128"/>
                    </a:cubicBezTo>
                    <a:cubicBezTo>
                      <a:pt x="355" y="138"/>
                      <a:pt x="355" y="138"/>
                      <a:pt x="355" y="138"/>
                    </a:cubicBezTo>
                    <a:cubicBezTo>
                      <a:pt x="370" y="140"/>
                      <a:pt x="370" y="140"/>
                      <a:pt x="370" y="140"/>
                    </a:cubicBezTo>
                    <a:cubicBezTo>
                      <a:pt x="401" y="136"/>
                      <a:pt x="401" y="136"/>
                      <a:pt x="401" y="136"/>
                    </a:cubicBezTo>
                    <a:cubicBezTo>
                      <a:pt x="422" y="128"/>
                      <a:pt x="422" y="128"/>
                      <a:pt x="422" y="128"/>
                    </a:cubicBezTo>
                    <a:cubicBezTo>
                      <a:pt x="435" y="113"/>
                      <a:pt x="435" y="113"/>
                      <a:pt x="435" y="113"/>
                    </a:cubicBezTo>
                    <a:cubicBezTo>
                      <a:pt x="443" y="112"/>
                      <a:pt x="443" y="112"/>
                      <a:pt x="443" y="112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59" y="96"/>
                      <a:pt x="459" y="96"/>
                      <a:pt x="459" y="96"/>
                    </a:cubicBezTo>
                    <a:cubicBezTo>
                      <a:pt x="468" y="95"/>
                      <a:pt x="468" y="95"/>
                      <a:pt x="468" y="95"/>
                    </a:cubicBezTo>
                    <a:cubicBezTo>
                      <a:pt x="472" y="112"/>
                      <a:pt x="472" y="112"/>
                      <a:pt x="472" y="112"/>
                    </a:cubicBezTo>
                    <a:cubicBezTo>
                      <a:pt x="479" y="111"/>
                      <a:pt x="479" y="111"/>
                      <a:pt x="479" y="111"/>
                    </a:cubicBezTo>
                    <a:cubicBezTo>
                      <a:pt x="494" y="119"/>
                      <a:pt x="494" y="119"/>
                      <a:pt x="494" y="119"/>
                    </a:cubicBezTo>
                    <a:cubicBezTo>
                      <a:pt x="502" y="118"/>
                      <a:pt x="502" y="118"/>
                      <a:pt x="502" y="118"/>
                    </a:cubicBezTo>
                    <a:cubicBezTo>
                      <a:pt x="522" y="111"/>
                      <a:pt x="522" y="111"/>
                      <a:pt x="522" y="111"/>
                    </a:cubicBezTo>
                    <a:cubicBezTo>
                      <a:pt x="525" y="108"/>
                      <a:pt x="525" y="108"/>
                      <a:pt x="525" y="108"/>
                    </a:cubicBezTo>
                    <a:cubicBezTo>
                      <a:pt x="527" y="111"/>
                      <a:pt x="527" y="111"/>
                      <a:pt x="527" y="111"/>
                    </a:cubicBezTo>
                    <a:cubicBezTo>
                      <a:pt x="536" y="101"/>
                      <a:pt x="532" y="130"/>
                      <a:pt x="533" y="138"/>
                    </a:cubicBezTo>
                    <a:cubicBezTo>
                      <a:pt x="524" y="162"/>
                      <a:pt x="549" y="152"/>
                      <a:pt x="565" y="154"/>
                    </a:cubicBezTo>
                    <a:cubicBezTo>
                      <a:pt x="587" y="151"/>
                      <a:pt x="572" y="182"/>
                      <a:pt x="576" y="195"/>
                    </a:cubicBezTo>
                    <a:cubicBezTo>
                      <a:pt x="573" y="213"/>
                      <a:pt x="604" y="200"/>
                      <a:pt x="617" y="203"/>
                    </a:cubicBezTo>
                    <a:cubicBezTo>
                      <a:pt x="634" y="209"/>
                      <a:pt x="620" y="235"/>
                      <a:pt x="642" y="227"/>
                    </a:cubicBezTo>
                    <a:cubicBezTo>
                      <a:pt x="654" y="229"/>
                      <a:pt x="662" y="246"/>
                      <a:pt x="671" y="257"/>
                    </a:cubicBezTo>
                    <a:cubicBezTo>
                      <a:pt x="682" y="274"/>
                      <a:pt x="683" y="271"/>
                      <a:pt x="700" y="264"/>
                    </a:cubicBezTo>
                    <a:cubicBezTo>
                      <a:pt x="711" y="268"/>
                      <a:pt x="720" y="254"/>
                      <a:pt x="736" y="259"/>
                    </a:cubicBezTo>
                    <a:cubicBezTo>
                      <a:pt x="760" y="262"/>
                      <a:pt x="785" y="263"/>
                      <a:pt x="809" y="267"/>
                    </a:cubicBezTo>
                    <a:cubicBezTo>
                      <a:pt x="826" y="273"/>
                      <a:pt x="839" y="282"/>
                      <a:pt x="855" y="289"/>
                    </a:cubicBezTo>
                    <a:cubicBezTo>
                      <a:pt x="869" y="294"/>
                      <a:pt x="876" y="310"/>
                      <a:pt x="859" y="317"/>
                    </a:cubicBezTo>
                    <a:cubicBezTo>
                      <a:pt x="853" y="319"/>
                      <a:pt x="849" y="317"/>
                      <a:pt x="856" y="328"/>
                    </a:cubicBezTo>
                    <a:cubicBezTo>
                      <a:pt x="864" y="340"/>
                      <a:pt x="847" y="336"/>
                      <a:pt x="862" y="349"/>
                    </a:cubicBezTo>
                    <a:cubicBezTo>
                      <a:pt x="864" y="362"/>
                      <a:pt x="879" y="362"/>
                      <a:pt x="889" y="371"/>
                    </a:cubicBezTo>
                    <a:cubicBezTo>
                      <a:pt x="885" y="388"/>
                      <a:pt x="918" y="386"/>
                      <a:pt x="896" y="398"/>
                    </a:cubicBezTo>
                    <a:cubicBezTo>
                      <a:pt x="891" y="402"/>
                      <a:pt x="887" y="406"/>
                      <a:pt x="882" y="411"/>
                    </a:cubicBezTo>
                    <a:cubicBezTo>
                      <a:pt x="882" y="411"/>
                      <a:pt x="889" y="414"/>
                      <a:pt x="896" y="416"/>
                    </a:cubicBezTo>
                    <a:cubicBezTo>
                      <a:pt x="903" y="418"/>
                      <a:pt x="904" y="421"/>
                      <a:pt x="902" y="424"/>
                    </a:cubicBezTo>
                    <a:cubicBezTo>
                      <a:pt x="900" y="427"/>
                      <a:pt x="896" y="436"/>
                      <a:pt x="895" y="438"/>
                    </a:cubicBezTo>
                    <a:cubicBezTo>
                      <a:pt x="894" y="438"/>
                      <a:pt x="894" y="438"/>
                      <a:pt x="893" y="438"/>
                    </a:cubicBezTo>
                    <a:cubicBezTo>
                      <a:pt x="890" y="451"/>
                      <a:pt x="882" y="455"/>
                      <a:pt x="875" y="463"/>
                    </a:cubicBezTo>
                    <a:cubicBezTo>
                      <a:pt x="869" y="474"/>
                      <a:pt x="865" y="473"/>
                      <a:pt x="857" y="480"/>
                    </a:cubicBezTo>
                    <a:cubicBezTo>
                      <a:pt x="855" y="492"/>
                      <a:pt x="845" y="494"/>
                      <a:pt x="839" y="504"/>
                    </a:cubicBezTo>
                    <a:cubicBezTo>
                      <a:pt x="838" y="505"/>
                      <a:pt x="838" y="505"/>
                      <a:pt x="838" y="505"/>
                    </a:cubicBezTo>
                    <a:cubicBezTo>
                      <a:pt x="832" y="516"/>
                      <a:pt x="817" y="522"/>
                      <a:pt x="829" y="532"/>
                    </a:cubicBezTo>
                    <a:cubicBezTo>
                      <a:pt x="838" y="542"/>
                      <a:pt x="831" y="551"/>
                      <a:pt x="838" y="561"/>
                    </a:cubicBezTo>
                    <a:cubicBezTo>
                      <a:pt x="841" y="573"/>
                      <a:pt x="849" y="579"/>
                      <a:pt x="856" y="588"/>
                    </a:cubicBezTo>
                    <a:cubicBezTo>
                      <a:pt x="857" y="595"/>
                      <a:pt x="882" y="593"/>
                      <a:pt x="877" y="603"/>
                    </a:cubicBezTo>
                    <a:cubicBezTo>
                      <a:pt x="865" y="614"/>
                      <a:pt x="883" y="625"/>
                      <a:pt x="874" y="634"/>
                    </a:cubicBezTo>
                    <a:cubicBezTo>
                      <a:pt x="869" y="648"/>
                      <a:pt x="897" y="638"/>
                      <a:pt x="895" y="649"/>
                    </a:cubicBezTo>
                    <a:cubicBezTo>
                      <a:pt x="879" y="657"/>
                      <a:pt x="889" y="667"/>
                      <a:pt x="899" y="670"/>
                    </a:cubicBezTo>
                    <a:cubicBezTo>
                      <a:pt x="891" y="686"/>
                      <a:pt x="902" y="685"/>
                      <a:pt x="911" y="693"/>
                    </a:cubicBezTo>
                    <a:cubicBezTo>
                      <a:pt x="904" y="712"/>
                      <a:pt x="914" y="701"/>
                      <a:pt x="923" y="703"/>
                    </a:cubicBezTo>
                    <a:cubicBezTo>
                      <a:pt x="931" y="712"/>
                      <a:pt x="927" y="728"/>
                      <a:pt x="920" y="735"/>
                    </a:cubicBezTo>
                    <a:cubicBezTo>
                      <a:pt x="906" y="733"/>
                      <a:pt x="895" y="737"/>
                      <a:pt x="883" y="727"/>
                    </a:cubicBezTo>
                    <a:cubicBezTo>
                      <a:pt x="879" y="735"/>
                      <a:pt x="888" y="749"/>
                      <a:pt x="878" y="761"/>
                    </a:cubicBezTo>
                    <a:cubicBezTo>
                      <a:pt x="865" y="779"/>
                      <a:pt x="873" y="768"/>
                      <a:pt x="880" y="782"/>
                    </a:cubicBezTo>
                    <a:cubicBezTo>
                      <a:pt x="883" y="796"/>
                      <a:pt x="909" y="781"/>
                      <a:pt x="905" y="800"/>
                    </a:cubicBezTo>
                    <a:cubicBezTo>
                      <a:pt x="889" y="801"/>
                      <a:pt x="879" y="803"/>
                      <a:pt x="872" y="814"/>
                    </a:cubicBezTo>
                    <a:cubicBezTo>
                      <a:pt x="856" y="819"/>
                      <a:pt x="855" y="841"/>
                      <a:pt x="836" y="836"/>
                    </a:cubicBezTo>
                    <a:cubicBezTo>
                      <a:pt x="834" y="837"/>
                      <a:pt x="832" y="839"/>
                      <a:pt x="830" y="841"/>
                    </a:cubicBezTo>
                    <a:cubicBezTo>
                      <a:pt x="829" y="840"/>
                      <a:pt x="829" y="840"/>
                      <a:pt x="829" y="840"/>
                    </a:cubicBezTo>
                    <a:cubicBezTo>
                      <a:pt x="813" y="839"/>
                      <a:pt x="813" y="839"/>
                      <a:pt x="813" y="839"/>
                    </a:cubicBezTo>
                    <a:cubicBezTo>
                      <a:pt x="810" y="852"/>
                      <a:pt x="810" y="852"/>
                      <a:pt x="810" y="852"/>
                    </a:cubicBezTo>
                    <a:cubicBezTo>
                      <a:pt x="813" y="860"/>
                      <a:pt x="813" y="860"/>
                      <a:pt x="813" y="860"/>
                    </a:cubicBezTo>
                    <a:cubicBezTo>
                      <a:pt x="825" y="875"/>
                      <a:pt x="825" y="875"/>
                      <a:pt x="825" y="875"/>
                    </a:cubicBezTo>
                    <a:cubicBezTo>
                      <a:pt x="826" y="876"/>
                      <a:pt x="827" y="877"/>
                      <a:pt x="826" y="878"/>
                    </a:cubicBezTo>
                    <a:cubicBezTo>
                      <a:pt x="826" y="880"/>
                      <a:pt x="826" y="881"/>
                      <a:pt x="825" y="882"/>
                    </a:cubicBezTo>
                    <a:cubicBezTo>
                      <a:pt x="810" y="892"/>
                      <a:pt x="810" y="892"/>
                      <a:pt x="810" y="892"/>
                    </a:cubicBezTo>
                    <a:cubicBezTo>
                      <a:pt x="801" y="904"/>
                      <a:pt x="801" y="904"/>
                      <a:pt x="801" y="904"/>
                    </a:cubicBezTo>
                    <a:cubicBezTo>
                      <a:pt x="800" y="905"/>
                      <a:pt x="799" y="906"/>
                      <a:pt x="798" y="906"/>
                    </a:cubicBezTo>
                    <a:cubicBezTo>
                      <a:pt x="784" y="908"/>
                      <a:pt x="784" y="908"/>
                      <a:pt x="784" y="908"/>
                    </a:cubicBezTo>
                    <a:cubicBezTo>
                      <a:pt x="784" y="908"/>
                      <a:pt x="783" y="908"/>
                      <a:pt x="783" y="908"/>
                    </a:cubicBezTo>
                    <a:cubicBezTo>
                      <a:pt x="783" y="908"/>
                      <a:pt x="783" y="908"/>
                      <a:pt x="782" y="907"/>
                    </a:cubicBezTo>
                    <a:cubicBezTo>
                      <a:pt x="768" y="904"/>
                      <a:pt x="768" y="904"/>
                      <a:pt x="768" y="904"/>
                    </a:cubicBezTo>
                    <a:cubicBezTo>
                      <a:pt x="767" y="903"/>
                      <a:pt x="767" y="903"/>
                      <a:pt x="766" y="903"/>
                    </a:cubicBezTo>
                    <a:cubicBezTo>
                      <a:pt x="752" y="893"/>
                      <a:pt x="752" y="893"/>
                      <a:pt x="752" y="893"/>
                    </a:cubicBezTo>
                    <a:cubicBezTo>
                      <a:pt x="751" y="893"/>
                      <a:pt x="751" y="893"/>
                      <a:pt x="751" y="892"/>
                    </a:cubicBezTo>
                    <a:cubicBezTo>
                      <a:pt x="732" y="863"/>
                      <a:pt x="732" y="863"/>
                      <a:pt x="732" y="863"/>
                    </a:cubicBezTo>
                    <a:cubicBezTo>
                      <a:pt x="726" y="861"/>
                      <a:pt x="726" y="861"/>
                      <a:pt x="726" y="861"/>
                    </a:cubicBezTo>
                    <a:cubicBezTo>
                      <a:pt x="709" y="860"/>
                      <a:pt x="709" y="860"/>
                      <a:pt x="709" y="860"/>
                    </a:cubicBezTo>
                    <a:cubicBezTo>
                      <a:pt x="700" y="864"/>
                      <a:pt x="700" y="864"/>
                      <a:pt x="700" y="864"/>
                    </a:cubicBezTo>
                    <a:cubicBezTo>
                      <a:pt x="699" y="864"/>
                      <a:pt x="698" y="864"/>
                      <a:pt x="697" y="864"/>
                    </a:cubicBezTo>
                    <a:cubicBezTo>
                      <a:pt x="688" y="862"/>
                      <a:pt x="688" y="862"/>
                      <a:pt x="688" y="862"/>
                    </a:cubicBezTo>
                    <a:cubicBezTo>
                      <a:pt x="687" y="862"/>
                      <a:pt x="686" y="861"/>
                      <a:pt x="686" y="861"/>
                    </a:cubicBezTo>
                    <a:cubicBezTo>
                      <a:pt x="658" y="839"/>
                      <a:pt x="658" y="839"/>
                      <a:pt x="658" y="839"/>
                    </a:cubicBezTo>
                    <a:cubicBezTo>
                      <a:pt x="632" y="825"/>
                      <a:pt x="632" y="825"/>
                      <a:pt x="632" y="825"/>
                    </a:cubicBezTo>
                    <a:cubicBezTo>
                      <a:pt x="585" y="819"/>
                      <a:pt x="585" y="819"/>
                      <a:pt x="585" y="819"/>
                    </a:cubicBezTo>
                    <a:cubicBezTo>
                      <a:pt x="569" y="819"/>
                      <a:pt x="569" y="819"/>
                      <a:pt x="569" y="819"/>
                    </a:cubicBezTo>
                    <a:cubicBezTo>
                      <a:pt x="546" y="830"/>
                      <a:pt x="546" y="830"/>
                      <a:pt x="546" y="830"/>
                    </a:cubicBezTo>
                    <a:cubicBezTo>
                      <a:pt x="544" y="830"/>
                      <a:pt x="544" y="830"/>
                      <a:pt x="544" y="830"/>
                    </a:cubicBezTo>
                    <a:cubicBezTo>
                      <a:pt x="545" y="826"/>
                      <a:pt x="545" y="826"/>
                      <a:pt x="545" y="826"/>
                    </a:cubicBezTo>
                    <a:cubicBezTo>
                      <a:pt x="540" y="819"/>
                      <a:pt x="540" y="819"/>
                      <a:pt x="540" y="819"/>
                    </a:cubicBezTo>
                    <a:cubicBezTo>
                      <a:pt x="539" y="813"/>
                      <a:pt x="539" y="813"/>
                      <a:pt x="539" y="813"/>
                    </a:cubicBezTo>
                    <a:cubicBezTo>
                      <a:pt x="533" y="809"/>
                      <a:pt x="533" y="809"/>
                      <a:pt x="533" y="809"/>
                    </a:cubicBezTo>
                    <a:cubicBezTo>
                      <a:pt x="519" y="812"/>
                      <a:pt x="519" y="812"/>
                      <a:pt x="519" y="812"/>
                    </a:cubicBezTo>
                    <a:cubicBezTo>
                      <a:pt x="518" y="808"/>
                      <a:pt x="518" y="808"/>
                      <a:pt x="518" y="808"/>
                    </a:cubicBezTo>
                    <a:cubicBezTo>
                      <a:pt x="522" y="805"/>
                      <a:pt x="522" y="805"/>
                      <a:pt x="522" y="805"/>
                    </a:cubicBezTo>
                    <a:cubicBezTo>
                      <a:pt x="513" y="801"/>
                      <a:pt x="513" y="801"/>
                      <a:pt x="513" y="801"/>
                    </a:cubicBezTo>
                    <a:cubicBezTo>
                      <a:pt x="505" y="813"/>
                      <a:pt x="505" y="813"/>
                      <a:pt x="505" y="813"/>
                    </a:cubicBezTo>
                    <a:cubicBezTo>
                      <a:pt x="495" y="817"/>
                      <a:pt x="495" y="817"/>
                      <a:pt x="495" y="817"/>
                    </a:cubicBezTo>
                    <a:cubicBezTo>
                      <a:pt x="482" y="819"/>
                      <a:pt x="482" y="819"/>
                      <a:pt x="482" y="819"/>
                    </a:cubicBezTo>
                    <a:cubicBezTo>
                      <a:pt x="473" y="816"/>
                      <a:pt x="473" y="816"/>
                      <a:pt x="473" y="816"/>
                    </a:cubicBezTo>
                    <a:cubicBezTo>
                      <a:pt x="467" y="816"/>
                      <a:pt x="467" y="816"/>
                      <a:pt x="467" y="816"/>
                    </a:cubicBezTo>
                    <a:cubicBezTo>
                      <a:pt x="462" y="816"/>
                      <a:pt x="462" y="816"/>
                      <a:pt x="462" y="816"/>
                    </a:cubicBezTo>
                    <a:cubicBezTo>
                      <a:pt x="446" y="806"/>
                      <a:pt x="446" y="806"/>
                      <a:pt x="446" y="806"/>
                    </a:cubicBezTo>
                    <a:cubicBezTo>
                      <a:pt x="416" y="806"/>
                      <a:pt x="416" y="806"/>
                      <a:pt x="416" y="806"/>
                    </a:cubicBezTo>
                    <a:cubicBezTo>
                      <a:pt x="401" y="810"/>
                      <a:pt x="401" y="810"/>
                      <a:pt x="401" y="810"/>
                    </a:cubicBezTo>
                    <a:cubicBezTo>
                      <a:pt x="388" y="829"/>
                      <a:pt x="388" y="829"/>
                      <a:pt x="388" y="829"/>
                    </a:cubicBezTo>
                    <a:cubicBezTo>
                      <a:pt x="371" y="831"/>
                      <a:pt x="371" y="831"/>
                      <a:pt x="371" y="831"/>
                    </a:cubicBezTo>
                    <a:cubicBezTo>
                      <a:pt x="341" y="820"/>
                      <a:pt x="341" y="820"/>
                      <a:pt x="341" y="820"/>
                    </a:cubicBezTo>
                    <a:cubicBezTo>
                      <a:pt x="292" y="825"/>
                      <a:pt x="292" y="825"/>
                      <a:pt x="292" y="825"/>
                    </a:cubicBezTo>
                    <a:cubicBezTo>
                      <a:pt x="295" y="812"/>
                      <a:pt x="295" y="812"/>
                      <a:pt x="295" y="812"/>
                    </a:cubicBezTo>
                    <a:cubicBezTo>
                      <a:pt x="295" y="810"/>
                      <a:pt x="295" y="810"/>
                      <a:pt x="295" y="810"/>
                    </a:cubicBezTo>
                    <a:cubicBezTo>
                      <a:pt x="295" y="805"/>
                      <a:pt x="295" y="805"/>
                      <a:pt x="295" y="805"/>
                    </a:cubicBezTo>
                    <a:cubicBezTo>
                      <a:pt x="286" y="804"/>
                      <a:pt x="286" y="804"/>
                      <a:pt x="286" y="804"/>
                    </a:cubicBezTo>
                    <a:cubicBezTo>
                      <a:pt x="289" y="795"/>
                      <a:pt x="289" y="795"/>
                      <a:pt x="289" y="795"/>
                    </a:cubicBezTo>
                    <a:cubicBezTo>
                      <a:pt x="292" y="794"/>
                      <a:pt x="292" y="794"/>
                      <a:pt x="292" y="794"/>
                    </a:cubicBezTo>
                    <a:lnTo>
                      <a:pt x="299" y="801"/>
                    </a:lnTo>
                    <a:close/>
                    <a:moveTo>
                      <a:pt x="300" y="764"/>
                    </a:moveTo>
                    <a:cubicBezTo>
                      <a:pt x="309" y="761"/>
                      <a:pt x="309" y="761"/>
                      <a:pt x="309" y="761"/>
                    </a:cubicBezTo>
                    <a:cubicBezTo>
                      <a:pt x="308" y="755"/>
                      <a:pt x="308" y="755"/>
                      <a:pt x="308" y="755"/>
                    </a:cubicBezTo>
                    <a:cubicBezTo>
                      <a:pt x="300" y="744"/>
                      <a:pt x="300" y="744"/>
                      <a:pt x="300" y="744"/>
                    </a:cubicBezTo>
                    <a:cubicBezTo>
                      <a:pt x="283" y="732"/>
                      <a:pt x="283" y="732"/>
                      <a:pt x="283" y="732"/>
                    </a:cubicBezTo>
                    <a:cubicBezTo>
                      <a:pt x="279" y="734"/>
                      <a:pt x="279" y="734"/>
                      <a:pt x="279" y="734"/>
                    </a:cubicBezTo>
                    <a:cubicBezTo>
                      <a:pt x="282" y="749"/>
                      <a:pt x="282" y="749"/>
                      <a:pt x="282" y="749"/>
                    </a:cubicBezTo>
                    <a:cubicBezTo>
                      <a:pt x="292" y="760"/>
                      <a:pt x="292" y="760"/>
                      <a:pt x="292" y="760"/>
                    </a:cubicBezTo>
                    <a:lnTo>
                      <a:pt x="300" y="764"/>
                    </a:lnTo>
                    <a:close/>
                    <a:moveTo>
                      <a:pt x="46" y="403"/>
                    </a:moveTo>
                    <a:cubicBezTo>
                      <a:pt x="37" y="396"/>
                      <a:pt x="37" y="396"/>
                      <a:pt x="37" y="396"/>
                    </a:cubicBezTo>
                    <a:cubicBezTo>
                      <a:pt x="36" y="402"/>
                      <a:pt x="36" y="402"/>
                      <a:pt x="36" y="402"/>
                    </a:cubicBezTo>
                    <a:cubicBezTo>
                      <a:pt x="25" y="418"/>
                      <a:pt x="25" y="418"/>
                      <a:pt x="25" y="418"/>
                    </a:cubicBezTo>
                    <a:cubicBezTo>
                      <a:pt x="17" y="416"/>
                      <a:pt x="17" y="416"/>
                      <a:pt x="17" y="416"/>
                    </a:cubicBezTo>
                    <a:cubicBezTo>
                      <a:pt x="13" y="418"/>
                      <a:pt x="13" y="418"/>
                      <a:pt x="13" y="418"/>
                    </a:cubicBezTo>
                    <a:cubicBezTo>
                      <a:pt x="4" y="424"/>
                      <a:pt x="4" y="424"/>
                      <a:pt x="4" y="424"/>
                    </a:cubicBezTo>
                    <a:cubicBezTo>
                      <a:pt x="3" y="432"/>
                      <a:pt x="3" y="432"/>
                      <a:pt x="3" y="432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1" y="453"/>
                      <a:pt x="1" y="453"/>
                      <a:pt x="1" y="453"/>
                    </a:cubicBezTo>
                    <a:cubicBezTo>
                      <a:pt x="11" y="460"/>
                      <a:pt x="11" y="460"/>
                      <a:pt x="11" y="460"/>
                    </a:cubicBezTo>
                    <a:cubicBezTo>
                      <a:pt x="14" y="472"/>
                      <a:pt x="14" y="472"/>
                      <a:pt x="14" y="472"/>
                    </a:cubicBezTo>
                    <a:cubicBezTo>
                      <a:pt x="27" y="488"/>
                      <a:pt x="27" y="488"/>
                      <a:pt x="27" y="488"/>
                    </a:cubicBezTo>
                    <a:cubicBezTo>
                      <a:pt x="45" y="500"/>
                      <a:pt x="45" y="500"/>
                      <a:pt x="45" y="500"/>
                    </a:cubicBezTo>
                    <a:cubicBezTo>
                      <a:pt x="44" y="502"/>
                      <a:pt x="44" y="502"/>
                      <a:pt x="44" y="502"/>
                    </a:cubicBezTo>
                    <a:cubicBezTo>
                      <a:pt x="42" y="506"/>
                      <a:pt x="42" y="506"/>
                      <a:pt x="42" y="506"/>
                    </a:cubicBezTo>
                    <a:cubicBezTo>
                      <a:pt x="33" y="505"/>
                      <a:pt x="33" y="505"/>
                      <a:pt x="33" y="505"/>
                    </a:cubicBezTo>
                    <a:cubicBezTo>
                      <a:pt x="32" y="514"/>
                      <a:pt x="32" y="514"/>
                      <a:pt x="32" y="514"/>
                    </a:cubicBezTo>
                    <a:cubicBezTo>
                      <a:pt x="39" y="527"/>
                      <a:pt x="39" y="527"/>
                      <a:pt x="39" y="527"/>
                    </a:cubicBezTo>
                    <a:cubicBezTo>
                      <a:pt x="52" y="532"/>
                      <a:pt x="52" y="532"/>
                      <a:pt x="52" y="532"/>
                    </a:cubicBezTo>
                    <a:cubicBezTo>
                      <a:pt x="56" y="524"/>
                      <a:pt x="56" y="524"/>
                      <a:pt x="56" y="524"/>
                    </a:cubicBezTo>
                    <a:cubicBezTo>
                      <a:pt x="57" y="532"/>
                      <a:pt x="57" y="532"/>
                      <a:pt x="57" y="532"/>
                    </a:cubicBezTo>
                    <a:cubicBezTo>
                      <a:pt x="63" y="535"/>
                      <a:pt x="63" y="535"/>
                      <a:pt x="63" y="535"/>
                    </a:cubicBezTo>
                    <a:cubicBezTo>
                      <a:pt x="65" y="532"/>
                      <a:pt x="65" y="532"/>
                      <a:pt x="65" y="532"/>
                    </a:cubicBezTo>
                    <a:cubicBezTo>
                      <a:pt x="62" y="523"/>
                      <a:pt x="62" y="523"/>
                      <a:pt x="62" y="523"/>
                    </a:cubicBezTo>
                    <a:cubicBezTo>
                      <a:pt x="65" y="518"/>
                      <a:pt x="65" y="518"/>
                      <a:pt x="65" y="518"/>
                    </a:cubicBezTo>
                    <a:cubicBezTo>
                      <a:pt x="71" y="520"/>
                      <a:pt x="71" y="520"/>
                      <a:pt x="71" y="520"/>
                    </a:cubicBezTo>
                    <a:cubicBezTo>
                      <a:pt x="72" y="526"/>
                      <a:pt x="72" y="526"/>
                      <a:pt x="72" y="526"/>
                    </a:cubicBezTo>
                    <a:cubicBezTo>
                      <a:pt x="77" y="532"/>
                      <a:pt x="77" y="532"/>
                      <a:pt x="77" y="532"/>
                    </a:cubicBezTo>
                    <a:cubicBezTo>
                      <a:pt x="83" y="526"/>
                      <a:pt x="83" y="526"/>
                      <a:pt x="83" y="526"/>
                    </a:cubicBezTo>
                    <a:cubicBezTo>
                      <a:pt x="91" y="526"/>
                      <a:pt x="91" y="526"/>
                      <a:pt x="91" y="526"/>
                    </a:cubicBezTo>
                    <a:cubicBezTo>
                      <a:pt x="86" y="512"/>
                      <a:pt x="86" y="512"/>
                      <a:pt x="86" y="512"/>
                    </a:cubicBezTo>
                    <a:cubicBezTo>
                      <a:pt x="86" y="503"/>
                      <a:pt x="86" y="503"/>
                      <a:pt x="86" y="503"/>
                    </a:cubicBezTo>
                    <a:cubicBezTo>
                      <a:pt x="90" y="497"/>
                      <a:pt x="90" y="497"/>
                      <a:pt x="90" y="497"/>
                    </a:cubicBezTo>
                    <a:cubicBezTo>
                      <a:pt x="97" y="496"/>
                      <a:pt x="97" y="496"/>
                      <a:pt x="97" y="496"/>
                    </a:cubicBezTo>
                    <a:cubicBezTo>
                      <a:pt x="109" y="499"/>
                      <a:pt x="109" y="499"/>
                      <a:pt x="109" y="499"/>
                    </a:cubicBezTo>
                    <a:cubicBezTo>
                      <a:pt x="122" y="513"/>
                      <a:pt x="122" y="513"/>
                      <a:pt x="122" y="513"/>
                    </a:cubicBezTo>
                    <a:cubicBezTo>
                      <a:pt x="143" y="534"/>
                      <a:pt x="143" y="534"/>
                      <a:pt x="143" y="534"/>
                    </a:cubicBezTo>
                    <a:cubicBezTo>
                      <a:pt x="161" y="542"/>
                      <a:pt x="161" y="542"/>
                      <a:pt x="161" y="542"/>
                    </a:cubicBezTo>
                    <a:cubicBezTo>
                      <a:pt x="166" y="542"/>
                      <a:pt x="166" y="542"/>
                      <a:pt x="166" y="542"/>
                    </a:cubicBezTo>
                    <a:cubicBezTo>
                      <a:pt x="170" y="538"/>
                      <a:pt x="170" y="538"/>
                      <a:pt x="170" y="538"/>
                    </a:cubicBezTo>
                    <a:cubicBezTo>
                      <a:pt x="164" y="534"/>
                      <a:pt x="164" y="534"/>
                      <a:pt x="164" y="534"/>
                    </a:cubicBezTo>
                    <a:cubicBezTo>
                      <a:pt x="153" y="532"/>
                      <a:pt x="153" y="532"/>
                      <a:pt x="153" y="532"/>
                    </a:cubicBezTo>
                    <a:cubicBezTo>
                      <a:pt x="149" y="528"/>
                      <a:pt x="149" y="528"/>
                      <a:pt x="149" y="528"/>
                    </a:cubicBezTo>
                    <a:cubicBezTo>
                      <a:pt x="154" y="514"/>
                      <a:pt x="154" y="514"/>
                      <a:pt x="154" y="514"/>
                    </a:cubicBezTo>
                    <a:cubicBezTo>
                      <a:pt x="161" y="512"/>
                      <a:pt x="161" y="512"/>
                      <a:pt x="161" y="512"/>
                    </a:cubicBezTo>
                    <a:cubicBezTo>
                      <a:pt x="168" y="514"/>
                      <a:pt x="168" y="514"/>
                      <a:pt x="168" y="514"/>
                    </a:cubicBezTo>
                    <a:cubicBezTo>
                      <a:pt x="184" y="511"/>
                      <a:pt x="184" y="511"/>
                      <a:pt x="184" y="511"/>
                    </a:cubicBezTo>
                    <a:cubicBezTo>
                      <a:pt x="187" y="502"/>
                      <a:pt x="187" y="502"/>
                      <a:pt x="187" y="502"/>
                    </a:cubicBezTo>
                    <a:cubicBezTo>
                      <a:pt x="195" y="500"/>
                      <a:pt x="195" y="500"/>
                      <a:pt x="195" y="500"/>
                    </a:cubicBezTo>
                    <a:cubicBezTo>
                      <a:pt x="205" y="504"/>
                      <a:pt x="205" y="504"/>
                      <a:pt x="205" y="504"/>
                    </a:cubicBezTo>
                    <a:cubicBezTo>
                      <a:pt x="210" y="514"/>
                      <a:pt x="210" y="514"/>
                      <a:pt x="210" y="514"/>
                    </a:cubicBezTo>
                    <a:cubicBezTo>
                      <a:pt x="223" y="515"/>
                      <a:pt x="223" y="515"/>
                      <a:pt x="223" y="515"/>
                    </a:cubicBezTo>
                    <a:cubicBezTo>
                      <a:pt x="228" y="514"/>
                      <a:pt x="228" y="514"/>
                      <a:pt x="228" y="514"/>
                    </a:cubicBezTo>
                    <a:cubicBezTo>
                      <a:pt x="227" y="496"/>
                      <a:pt x="227" y="496"/>
                      <a:pt x="227" y="496"/>
                    </a:cubicBezTo>
                    <a:cubicBezTo>
                      <a:pt x="233" y="483"/>
                      <a:pt x="233" y="483"/>
                      <a:pt x="233" y="483"/>
                    </a:cubicBezTo>
                    <a:cubicBezTo>
                      <a:pt x="227" y="477"/>
                      <a:pt x="227" y="477"/>
                      <a:pt x="227" y="477"/>
                    </a:cubicBezTo>
                    <a:cubicBezTo>
                      <a:pt x="217" y="471"/>
                      <a:pt x="217" y="471"/>
                      <a:pt x="217" y="471"/>
                    </a:cubicBezTo>
                    <a:cubicBezTo>
                      <a:pt x="213" y="458"/>
                      <a:pt x="213" y="458"/>
                      <a:pt x="213" y="458"/>
                    </a:cubicBezTo>
                    <a:cubicBezTo>
                      <a:pt x="203" y="440"/>
                      <a:pt x="203" y="440"/>
                      <a:pt x="203" y="440"/>
                    </a:cubicBezTo>
                    <a:cubicBezTo>
                      <a:pt x="196" y="438"/>
                      <a:pt x="196" y="438"/>
                      <a:pt x="196" y="438"/>
                    </a:cubicBezTo>
                    <a:cubicBezTo>
                      <a:pt x="187" y="419"/>
                      <a:pt x="187" y="419"/>
                      <a:pt x="187" y="419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6" y="424"/>
                      <a:pt x="176" y="424"/>
                      <a:pt x="176" y="424"/>
                    </a:cubicBezTo>
                    <a:cubicBezTo>
                      <a:pt x="179" y="429"/>
                      <a:pt x="179" y="429"/>
                      <a:pt x="179" y="429"/>
                    </a:cubicBezTo>
                    <a:cubicBezTo>
                      <a:pt x="176" y="433"/>
                      <a:pt x="176" y="433"/>
                      <a:pt x="176" y="433"/>
                    </a:cubicBezTo>
                    <a:cubicBezTo>
                      <a:pt x="170" y="432"/>
                      <a:pt x="170" y="432"/>
                      <a:pt x="170" y="432"/>
                    </a:cubicBezTo>
                    <a:cubicBezTo>
                      <a:pt x="163" y="422"/>
                      <a:pt x="163" y="422"/>
                      <a:pt x="163" y="422"/>
                    </a:cubicBezTo>
                    <a:cubicBezTo>
                      <a:pt x="155" y="423"/>
                      <a:pt x="155" y="423"/>
                      <a:pt x="155" y="423"/>
                    </a:cubicBezTo>
                    <a:cubicBezTo>
                      <a:pt x="150" y="438"/>
                      <a:pt x="150" y="438"/>
                      <a:pt x="150" y="438"/>
                    </a:cubicBezTo>
                    <a:cubicBezTo>
                      <a:pt x="147" y="438"/>
                      <a:pt x="147" y="438"/>
                      <a:pt x="147" y="438"/>
                    </a:cubicBezTo>
                    <a:cubicBezTo>
                      <a:pt x="144" y="431"/>
                      <a:pt x="144" y="431"/>
                      <a:pt x="144" y="431"/>
                    </a:cubicBezTo>
                    <a:cubicBezTo>
                      <a:pt x="141" y="431"/>
                      <a:pt x="141" y="431"/>
                      <a:pt x="141" y="431"/>
                    </a:cubicBezTo>
                    <a:cubicBezTo>
                      <a:pt x="133" y="444"/>
                      <a:pt x="133" y="444"/>
                      <a:pt x="133" y="444"/>
                    </a:cubicBezTo>
                    <a:cubicBezTo>
                      <a:pt x="130" y="444"/>
                      <a:pt x="130" y="444"/>
                      <a:pt x="130" y="444"/>
                    </a:cubicBezTo>
                    <a:cubicBezTo>
                      <a:pt x="129" y="443"/>
                      <a:pt x="129" y="443"/>
                      <a:pt x="129" y="443"/>
                    </a:cubicBezTo>
                    <a:cubicBezTo>
                      <a:pt x="128" y="436"/>
                      <a:pt x="128" y="436"/>
                      <a:pt x="128" y="436"/>
                    </a:cubicBezTo>
                    <a:cubicBezTo>
                      <a:pt x="120" y="430"/>
                      <a:pt x="120" y="430"/>
                      <a:pt x="120" y="430"/>
                    </a:cubicBezTo>
                    <a:cubicBezTo>
                      <a:pt x="121" y="421"/>
                      <a:pt x="121" y="421"/>
                      <a:pt x="121" y="421"/>
                    </a:cubicBezTo>
                    <a:cubicBezTo>
                      <a:pt x="118" y="417"/>
                      <a:pt x="118" y="417"/>
                      <a:pt x="118" y="417"/>
                    </a:cubicBezTo>
                    <a:cubicBezTo>
                      <a:pt x="108" y="416"/>
                      <a:pt x="108" y="416"/>
                      <a:pt x="108" y="416"/>
                    </a:cubicBezTo>
                    <a:cubicBezTo>
                      <a:pt x="101" y="411"/>
                      <a:pt x="101" y="411"/>
                      <a:pt x="101" y="411"/>
                    </a:cubicBezTo>
                    <a:cubicBezTo>
                      <a:pt x="92" y="418"/>
                      <a:pt x="92" y="418"/>
                      <a:pt x="92" y="418"/>
                    </a:cubicBezTo>
                    <a:cubicBezTo>
                      <a:pt x="79" y="414"/>
                      <a:pt x="79" y="414"/>
                      <a:pt x="79" y="414"/>
                    </a:cubicBezTo>
                    <a:cubicBezTo>
                      <a:pt x="70" y="408"/>
                      <a:pt x="70" y="408"/>
                      <a:pt x="70" y="408"/>
                    </a:cubicBezTo>
                    <a:cubicBezTo>
                      <a:pt x="70" y="402"/>
                      <a:pt x="70" y="402"/>
                      <a:pt x="70" y="402"/>
                    </a:cubicBezTo>
                    <a:cubicBezTo>
                      <a:pt x="66" y="394"/>
                      <a:pt x="66" y="394"/>
                      <a:pt x="66" y="394"/>
                    </a:cubicBezTo>
                    <a:cubicBezTo>
                      <a:pt x="61" y="395"/>
                      <a:pt x="61" y="395"/>
                      <a:pt x="61" y="395"/>
                    </a:cubicBezTo>
                    <a:cubicBezTo>
                      <a:pt x="66" y="402"/>
                      <a:pt x="66" y="402"/>
                      <a:pt x="66" y="402"/>
                    </a:cubicBezTo>
                    <a:cubicBezTo>
                      <a:pt x="64" y="405"/>
                      <a:pt x="64" y="405"/>
                      <a:pt x="64" y="405"/>
                    </a:cubicBezTo>
                    <a:lnTo>
                      <a:pt x="46" y="403"/>
                    </a:lnTo>
                    <a:close/>
                    <a:moveTo>
                      <a:pt x="262" y="41"/>
                    </a:moveTo>
                    <a:cubicBezTo>
                      <a:pt x="261" y="36"/>
                      <a:pt x="261" y="36"/>
                      <a:pt x="261" y="36"/>
                    </a:cubicBezTo>
                    <a:cubicBezTo>
                      <a:pt x="251" y="23"/>
                      <a:pt x="251" y="23"/>
                      <a:pt x="251" y="23"/>
                    </a:cubicBezTo>
                    <a:cubicBezTo>
                      <a:pt x="237" y="10"/>
                      <a:pt x="237" y="10"/>
                      <a:pt x="237" y="10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04" y="2"/>
                      <a:pt x="204" y="2"/>
                      <a:pt x="204" y="2"/>
                    </a:cubicBezTo>
                    <a:cubicBezTo>
                      <a:pt x="203" y="4"/>
                      <a:pt x="203" y="4"/>
                      <a:pt x="203" y="4"/>
                    </a:cubicBezTo>
                    <a:cubicBezTo>
                      <a:pt x="216" y="25"/>
                      <a:pt x="216" y="25"/>
                      <a:pt x="216" y="25"/>
                    </a:cubicBezTo>
                    <a:cubicBezTo>
                      <a:pt x="229" y="30"/>
                      <a:pt x="229" y="30"/>
                      <a:pt x="229" y="30"/>
                    </a:cubicBezTo>
                    <a:cubicBezTo>
                      <a:pt x="231" y="30"/>
                      <a:pt x="231" y="30"/>
                      <a:pt x="231" y="30"/>
                    </a:cubicBezTo>
                    <a:cubicBezTo>
                      <a:pt x="245" y="30"/>
                      <a:pt x="245" y="30"/>
                      <a:pt x="245" y="30"/>
                    </a:cubicBezTo>
                    <a:cubicBezTo>
                      <a:pt x="257" y="42"/>
                      <a:pt x="257" y="42"/>
                      <a:pt x="257" y="42"/>
                    </a:cubicBezTo>
                    <a:lnTo>
                      <a:pt x="262" y="41"/>
                    </a:lnTo>
                    <a:close/>
                    <a:moveTo>
                      <a:pt x="229" y="579"/>
                    </a:moveTo>
                    <a:cubicBezTo>
                      <a:pt x="233" y="570"/>
                      <a:pt x="233" y="570"/>
                      <a:pt x="233" y="570"/>
                    </a:cubicBezTo>
                    <a:cubicBezTo>
                      <a:pt x="235" y="548"/>
                      <a:pt x="235" y="548"/>
                      <a:pt x="235" y="548"/>
                    </a:cubicBezTo>
                    <a:cubicBezTo>
                      <a:pt x="233" y="545"/>
                      <a:pt x="233" y="545"/>
                      <a:pt x="233" y="545"/>
                    </a:cubicBezTo>
                    <a:cubicBezTo>
                      <a:pt x="223" y="568"/>
                      <a:pt x="223" y="568"/>
                      <a:pt x="223" y="568"/>
                    </a:cubicBezTo>
                    <a:lnTo>
                      <a:pt x="229" y="579"/>
                    </a:lnTo>
                    <a:close/>
                    <a:moveTo>
                      <a:pt x="240" y="720"/>
                    </a:moveTo>
                    <a:cubicBezTo>
                      <a:pt x="236" y="723"/>
                      <a:pt x="236" y="723"/>
                      <a:pt x="236" y="723"/>
                    </a:cubicBezTo>
                    <a:cubicBezTo>
                      <a:pt x="235" y="727"/>
                      <a:pt x="235" y="727"/>
                      <a:pt x="235" y="727"/>
                    </a:cubicBezTo>
                    <a:cubicBezTo>
                      <a:pt x="250" y="736"/>
                      <a:pt x="250" y="736"/>
                      <a:pt x="250" y="736"/>
                    </a:cubicBezTo>
                    <a:cubicBezTo>
                      <a:pt x="252" y="725"/>
                      <a:pt x="252" y="725"/>
                      <a:pt x="252" y="725"/>
                    </a:cubicBezTo>
                    <a:cubicBezTo>
                      <a:pt x="249" y="722"/>
                      <a:pt x="249" y="722"/>
                      <a:pt x="249" y="722"/>
                    </a:cubicBezTo>
                    <a:lnTo>
                      <a:pt x="240" y="720"/>
                    </a:ln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2" name="Freeform 17">
                <a:extLst>
                  <a:ext uri="{FF2B5EF4-FFF2-40B4-BE49-F238E27FC236}">
                    <a16:creationId xmlns:a16="http://schemas.microsoft.com/office/drawing/2014/main" id="{8C91FF1E-8113-4C71-8C5E-7A24C4FACD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36838" y="3260727"/>
                <a:ext cx="2433638" cy="2349501"/>
              </a:xfrm>
              <a:custGeom>
                <a:avLst/>
                <a:gdLst>
                  <a:gd name="T0" fmla="*/ 1533 w 1533"/>
                  <a:gd name="T1" fmla="*/ 225 h 1480"/>
                  <a:gd name="T2" fmla="*/ 80 w 1533"/>
                  <a:gd name="T3" fmla="*/ 324 h 1480"/>
                  <a:gd name="T4" fmla="*/ 160 w 1533"/>
                  <a:gd name="T5" fmla="*/ 429 h 1480"/>
                  <a:gd name="T6" fmla="*/ 206 w 1533"/>
                  <a:gd name="T7" fmla="*/ 511 h 1480"/>
                  <a:gd name="T8" fmla="*/ 170 w 1533"/>
                  <a:gd name="T9" fmla="*/ 573 h 1480"/>
                  <a:gd name="T10" fmla="*/ 92 w 1533"/>
                  <a:gd name="T11" fmla="*/ 556 h 1480"/>
                  <a:gd name="T12" fmla="*/ 61 w 1533"/>
                  <a:gd name="T13" fmla="*/ 612 h 1480"/>
                  <a:gd name="T14" fmla="*/ 106 w 1533"/>
                  <a:gd name="T15" fmla="*/ 702 h 1480"/>
                  <a:gd name="T16" fmla="*/ 195 w 1533"/>
                  <a:gd name="T17" fmla="*/ 689 h 1480"/>
                  <a:gd name="T18" fmla="*/ 243 w 1533"/>
                  <a:gd name="T19" fmla="*/ 793 h 1480"/>
                  <a:gd name="T20" fmla="*/ 312 w 1533"/>
                  <a:gd name="T21" fmla="*/ 834 h 1480"/>
                  <a:gd name="T22" fmla="*/ 398 w 1533"/>
                  <a:gd name="T23" fmla="*/ 898 h 1480"/>
                  <a:gd name="T24" fmla="*/ 301 w 1533"/>
                  <a:gd name="T25" fmla="*/ 989 h 1480"/>
                  <a:gd name="T26" fmla="*/ 239 w 1533"/>
                  <a:gd name="T27" fmla="*/ 1110 h 1480"/>
                  <a:gd name="T28" fmla="*/ 225 w 1533"/>
                  <a:gd name="T29" fmla="*/ 1235 h 1480"/>
                  <a:gd name="T30" fmla="*/ 365 w 1533"/>
                  <a:gd name="T31" fmla="*/ 1175 h 1480"/>
                  <a:gd name="T32" fmla="*/ 440 w 1533"/>
                  <a:gd name="T33" fmla="*/ 912 h 1480"/>
                  <a:gd name="T34" fmla="*/ 578 w 1533"/>
                  <a:gd name="T35" fmla="*/ 755 h 1480"/>
                  <a:gd name="T36" fmla="*/ 660 w 1533"/>
                  <a:gd name="T37" fmla="*/ 764 h 1480"/>
                  <a:gd name="T38" fmla="*/ 764 w 1533"/>
                  <a:gd name="T39" fmla="*/ 720 h 1480"/>
                  <a:gd name="T40" fmla="*/ 809 w 1533"/>
                  <a:gd name="T41" fmla="*/ 746 h 1480"/>
                  <a:gd name="T42" fmla="*/ 842 w 1533"/>
                  <a:gd name="T43" fmla="*/ 678 h 1480"/>
                  <a:gd name="T44" fmla="*/ 972 w 1533"/>
                  <a:gd name="T45" fmla="*/ 636 h 1480"/>
                  <a:gd name="T46" fmla="*/ 996 w 1533"/>
                  <a:gd name="T47" fmla="*/ 592 h 1480"/>
                  <a:gd name="T48" fmla="*/ 1068 w 1533"/>
                  <a:gd name="T49" fmla="*/ 546 h 1480"/>
                  <a:gd name="T50" fmla="*/ 1068 w 1533"/>
                  <a:gd name="T51" fmla="*/ 496 h 1480"/>
                  <a:gd name="T52" fmla="*/ 1145 w 1533"/>
                  <a:gd name="T53" fmla="*/ 524 h 1480"/>
                  <a:gd name="T54" fmla="*/ 1178 w 1533"/>
                  <a:gd name="T55" fmla="*/ 498 h 1480"/>
                  <a:gd name="T56" fmla="*/ 1199 w 1533"/>
                  <a:gd name="T57" fmla="*/ 417 h 1480"/>
                  <a:gd name="T58" fmla="*/ 1256 w 1533"/>
                  <a:gd name="T59" fmla="*/ 396 h 1480"/>
                  <a:gd name="T60" fmla="*/ 1289 w 1533"/>
                  <a:gd name="T61" fmla="*/ 343 h 1480"/>
                  <a:gd name="T62" fmla="*/ 1315 w 1533"/>
                  <a:gd name="T63" fmla="*/ 393 h 1480"/>
                  <a:gd name="T64" fmla="*/ 1330 w 1533"/>
                  <a:gd name="T65" fmla="*/ 369 h 1480"/>
                  <a:gd name="T66" fmla="*/ 1373 w 1533"/>
                  <a:gd name="T67" fmla="*/ 380 h 1480"/>
                  <a:gd name="T68" fmla="*/ 1390 w 1533"/>
                  <a:gd name="T69" fmla="*/ 333 h 1480"/>
                  <a:gd name="T70" fmla="*/ 1242 w 1533"/>
                  <a:gd name="T71" fmla="*/ 236 h 1480"/>
                  <a:gd name="T72" fmla="*/ 1183 w 1533"/>
                  <a:gd name="T73" fmla="*/ 199 h 1480"/>
                  <a:gd name="T74" fmla="*/ 988 w 1533"/>
                  <a:gd name="T75" fmla="*/ 101 h 1480"/>
                  <a:gd name="T76" fmla="*/ 867 w 1533"/>
                  <a:gd name="T77" fmla="*/ 168 h 1480"/>
                  <a:gd name="T78" fmla="*/ 716 w 1533"/>
                  <a:gd name="T79" fmla="*/ 70 h 1480"/>
                  <a:gd name="T80" fmla="*/ 594 w 1533"/>
                  <a:gd name="T81" fmla="*/ 173 h 1480"/>
                  <a:gd name="T82" fmla="*/ 470 w 1533"/>
                  <a:gd name="T83" fmla="*/ 215 h 1480"/>
                  <a:gd name="T84" fmla="*/ 454 w 1533"/>
                  <a:gd name="T85" fmla="*/ 321 h 1480"/>
                  <a:gd name="T86" fmla="*/ 387 w 1533"/>
                  <a:gd name="T87" fmla="*/ 277 h 1480"/>
                  <a:gd name="T88" fmla="*/ 281 w 1533"/>
                  <a:gd name="T89" fmla="*/ 432 h 1480"/>
                  <a:gd name="T90" fmla="*/ 127 w 1533"/>
                  <a:gd name="T91" fmla="*/ 288 h 1480"/>
                  <a:gd name="T92" fmla="*/ 741 w 1533"/>
                  <a:gd name="T93" fmla="*/ 805 h 1480"/>
                  <a:gd name="T94" fmla="*/ 1375 w 1533"/>
                  <a:gd name="T95" fmla="*/ 426 h 1480"/>
                  <a:gd name="T96" fmla="*/ 1330 w 1533"/>
                  <a:gd name="T97" fmla="*/ 1467 h 1480"/>
                  <a:gd name="T98" fmla="*/ 1310 w 1533"/>
                  <a:gd name="T99" fmla="*/ 1454 h 1480"/>
                  <a:gd name="T100" fmla="*/ 655 w 1533"/>
                  <a:gd name="T101" fmla="*/ 838 h 1480"/>
                  <a:gd name="T102" fmla="*/ 33 w 1533"/>
                  <a:gd name="T103" fmla="*/ 496 h 1480"/>
                  <a:gd name="T104" fmla="*/ 47 w 1533"/>
                  <a:gd name="T105" fmla="*/ 488 h 1480"/>
                  <a:gd name="T106" fmla="*/ 1184 w 1533"/>
                  <a:gd name="T107" fmla="*/ 134 h 1480"/>
                  <a:gd name="T108" fmla="*/ 1292 w 1533"/>
                  <a:gd name="T109" fmla="*/ 205 h 1480"/>
                  <a:gd name="T110" fmla="*/ 1352 w 1533"/>
                  <a:gd name="T111" fmla="*/ 225 h 1480"/>
                  <a:gd name="T112" fmla="*/ 1427 w 1533"/>
                  <a:gd name="T113" fmla="*/ 227 h 1480"/>
                  <a:gd name="T114" fmla="*/ 1440 w 1533"/>
                  <a:gd name="T115" fmla="*/ 107 h 1480"/>
                  <a:gd name="T116" fmla="*/ 1284 w 1533"/>
                  <a:gd name="T117" fmla="*/ 8 h 1480"/>
                  <a:gd name="T118" fmla="*/ 1159 w 1533"/>
                  <a:gd name="T119" fmla="*/ 92 h 1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33" h="1480">
                    <a:moveTo>
                      <a:pt x="1517" y="69"/>
                    </a:moveTo>
                    <a:lnTo>
                      <a:pt x="1517" y="72"/>
                    </a:lnTo>
                    <a:lnTo>
                      <a:pt x="1523" y="79"/>
                    </a:lnTo>
                    <a:lnTo>
                      <a:pt x="1519" y="95"/>
                    </a:lnTo>
                    <a:lnTo>
                      <a:pt x="1505" y="83"/>
                    </a:lnTo>
                    <a:lnTo>
                      <a:pt x="1497" y="81"/>
                    </a:lnTo>
                    <a:lnTo>
                      <a:pt x="1503" y="71"/>
                    </a:lnTo>
                    <a:lnTo>
                      <a:pt x="1512" y="67"/>
                    </a:lnTo>
                    <a:lnTo>
                      <a:pt x="1517" y="69"/>
                    </a:lnTo>
                    <a:close/>
                    <a:moveTo>
                      <a:pt x="1508" y="220"/>
                    </a:moveTo>
                    <a:lnTo>
                      <a:pt x="1505" y="231"/>
                    </a:lnTo>
                    <a:lnTo>
                      <a:pt x="1511" y="234"/>
                    </a:lnTo>
                    <a:lnTo>
                      <a:pt x="1519" y="232"/>
                    </a:lnTo>
                    <a:lnTo>
                      <a:pt x="1525" y="226"/>
                    </a:lnTo>
                    <a:lnTo>
                      <a:pt x="1533" y="225"/>
                    </a:lnTo>
                    <a:lnTo>
                      <a:pt x="1516" y="215"/>
                    </a:lnTo>
                    <a:lnTo>
                      <a:pt x="1508" y="220"/>
                    </a:lnTo>
                    <a:close/>
                    <a:moveTo>
                      <a:pt x="142" y="324"/>
                    </a:moveTo>
                    <a:lnTo>
                      <a:pt x="128" y="329"/>
                    </a:lnTo>
                    <a:lnTo>
                      <a:pt x="112" y="332"/>
                    </a:lnTo>
                    <a:lnTo>
                      <a:pt x="103" y="330"/>
                    </a:lnTo>
                    <a:lnTo>
                      <a:pt x="93" y="318"/>
                    </a:lnTo>
                    <a:lnTo>
                      <a:pt x="78" y="308"/>
                    </a:lnTo>
                    <a:lnTo>
                      <a:pt x="66" y="305"/>
                    </a:lnTo>
                    <a:lnTo>
                      <a:pt x="65" y="307"/>
                    </a:lnTo>
                    <a:lnTo>
                      <a:pt x="71" y="316"/>
                    </a:lnTo>
                    <a:lnTo>
                      <a:pt x="75" y="329"/>
                    </a:lnTo>
                    <a:lnTo>
                      <a:pt x="80" y="333"/>
                    </a:lnTo>
                    <a:lnTo>
                      <a:pt x="83" y="330"/>
                    </a:lnTo>
                    <a:lnTo>
                      <a:pt x="80" y="324"/>
                    </a:lnTo>
                    <a:lnTo>
                      <a:pt x="82" y="320"/>
                    </a:lnTo>
                    <a:lnTo>
                      <a:pt x="84" y="321"/>
                    </a:lnTo>
                    <a:lnTo>
                      <a:pt x="87" y="331"/>
                    </a:lnTo>
                    <a:lnTo>
                      <a:pt x="80" y="337"/>
                    </a:lnTo>
                    <a:lnTo>
                      <a:pt x="80" y="341"/>
                    </a:lnTo>
                    <a:lnTo>
                      <a:pt x="85" y="348"/>
                    </a:lnTo>
                    <a:lnTo>
                      <a:pt x="86" y="350"/>
                    </a:lnTo>
                    <a:lnTo>
                      <a:pt x="111" y="343"/>
                    </a:lnTo>
                    <a:lnTo>
                      <a:pt x="124" y="345"/>
                    </a:lnTo>
                    <a:lnTo>
                      <a:pt x="128" y="351"/>
                    </a:lnTo>
                    <a:lnTo>
                      <a:pt x="131" y="374"/>
                    </a:lnTo>
                    <a:lnTo>
                      <a:pt x="136" y="386"/>
                    </a:lnTo>
                    <a:lnTo>
                      <a:pt x="160" y="409"/>
                    </a:lnTo>
                    <a:lnTo>
                      <a:pt x="162" y="414"/>
                    </a:lnTo>
                    <a:lnTo>
                      <a:pt x="160" y="429"/>
                    </a:lnTo>
                    <a:lnTo>
                      <a:pt x="167" y="437"/>
                    </a:lnTo>
                    <a:lnTo>
                      <a:pt x="166" y="443"/>
                    </a:lnTo>
                    <a:lnTo>
                      <a:pt x="169" y="449"/>
                    </a:lnTo>
                    <a:lnTo>
                      <a:pt x="174" y="451"/>
                    </a:lnTo>
                    <a:lnTo>
                      <a:pt x="179" y="461"/>
                    </a:lnTo>
                    <a:lnTo>
                      <a:pt x="191" y="466"/>
                    </a:lnTo>
                    <a:lnTo>
                      <a:pt x="196" y="459"/>
                    </a:lnTo>
                    <a:lnTo>
                      <a:pt x="199" y="458"/>
                    </a:lnTo>
                    <a:lnTo>
                      <a:pt x="204" y="462"/>
                    </a:lnTo>
                    <a:lnTo>
                      <a:pt x="204" y="464"/>
                    </a:lnTo>
                    <a:lnTo>
                      <a:pt x="205" y="466"/>
                    </a:lnTo>
                    <a:lnTo>
                      <a:pt x="201" y="469"/>
                    </a:lnTo>
                    <a:lnTo>
                      <a:pt x="205" y="479"/>
                    </a:lnTo>
                    <a:lnTo>
                      <a:pt x="206" y="479"/>
                    </a:lnTo>
                    <a:lnTo>
                      <a:pt x="206" y="511"/>
                    </a:lnTo>
                    <a:lnTo>
                      <a:pt x="202" y="515"/>
                    </a:lnTo>
                    <a:lnTo>
                      <a:pt x="196" y="513"/>
                    </a:lnTo>
                    <a:lnTo>
                      <a:pt x="191" y="521"/>
                    </a:lnTo>
                    <a:lnTo>
                      <a:pt x="195" y="526"/>
                    </a:lnTo>
                    <a:lnTo>
                      <a:pt x="206" y="528"/>
                    </a:lnTo>
                    <a:lnTo>
                      <a:pt x="206" y="549"/>
                    </a:lnTo>
                    <a:lnTo>
                      <a:pt x="195" y="561"/>
                    </a:lnTo>
                    <a:lnTo>
                      <a:pt x="189" y="560"/>
                    </a:lnTo>
                    <a:lnTo>
                      <a:pt x="184" y="552"/>
                    </a:lnTo>
                    <a:lnTo>
                      <a:pt x="169" y="547"/>
                    </a:lnTo>
                    <a:lnTo>
                      <a:pt x="157" y="537"/>
                    </a:lnTo>
                    <a:lnTo>
                      <a:pt x="153" y="538"/>
                    </a:lnTo>
                    <a:lnTo>
                      <a:pt x="150" y="541"/>
                    </a:lnTo>
                    <a:lnTo>
                      <a:pt x="157" y="558"/>
                    </a:lnTo>
                    <a:lnTo>
                      <a:pt x="170" y="573"/>
                    </a:lnTo>
                    <a:lnTo>
                      <a:pt x="171" y="577"/>
                    </a:lnTo>
                    <a:lnTo>
                      <a:pt x="164" y="590"/>
                    </a:lnTo>
                    <a:lnTo>
                      <a:pt x="167" y="601"/>
                    </a:lnTo>
                    <a:lnTo>
                      <a:pt x="164" y="604"/>
                    </a:lnTo>
                    <a:lnTo>
                      <a:pt x="144" y="605"/>
                    </a:lnTo>
                    <a:lnTo>
                      <a:pt x="145" y="594"/>
                    </a:lnTo>
                    <a:lnTo>
                      <a:pt x="140" y="593"/>
                    </a:lnTo>
                    <a:lnTo>
                      <a:pt x="136" y="589"/>
                    </a:lnTo>
                    <a:lnTo>
                      <a:pt x="136" y="577"/>
                    </a:lnTo>
                    <a:lnTo>
                      <a:pt x="123" y="571"/>
                    </a:lnTo>
                    <a:lnTo>
                      <a:pt x="113" y="560"/>
                    </a:lnTo>
                    <a:lnTo>
                      <a:pt x="107" y="556"/>
                    </a:lnTo>
                    <a:lnTo>
                      <a:pt x="104" y="560"/>
                    </a:lnTo>
                    <a:lnTo>
                      <a:pt x="97" y="556"/>
                    </a:lnTo>
                    <a:lnTo>
                      <a:pt x="92" y="556"/>
                    </a:lnTo>
                    <a:lnTo>
                      <a:pt x="90" y="558"/>
                    </a:lnTo>
                    <a:lnTo>
                      <a:pt x="92" y="566"/>
                    </a:lnTo>
                    <a:lnTo>
                      <a:pt x="101" y="568"/>
                    </a:lnTo>
                    <a:lnTo>
                      <a:pt x="101" y="573"/>
                    </a:lnTo>
                    <a:lnTo>
                      <a:pt x="101" y="581"/>
                    </a:lnTo>
                    <a:lnTo>
                      <a:pt x="105" y="586"/>
                    </a:lnTo>
                    <a:lnTo>
                      <a:pt x="127" y="602"/>
                    </a:lnTo>
                    <a:lnTo>
                      <a:pt x="127" y="608"/>
                    </a:lnTo>
                    <a:lnTo>
                      <a:pt x="121" y="611"/>
                    </a:lnTo>
                    <a:lnTo>
                      <a:pt x="112" y="627"/>
                    </a:lnTo>
                    <a:lnTo>
                      <a:pt x="101" y="619"/>
                    </a:lnTo>
                    <a:lnTo>
                      <a:pt x="86" y="617"/>
                    </a:lnTo>
                    <a:lnTo>
                      <a:pt x="76" y="608"/>
                    </a:lnTo>
                    <a:lnTo>
                      <a:pt x="68" y="607"/>
                    </a:lnTo>
                    <a:lnTo>
                      <a:pt x="61" y="612"/>
                    </a:lnTo>
                    <a:lnTo>
                      <a:pt x="58" y="619"/>
                    </a:lnTo>
                    <a:lnTo>
                      <a:pt x="60" y="628"/>
                    </a:lnTo>
                    <a:lnTo>
                      <a:pt x="73" y="640"/>
                    </a:lnTo>
                    <a:lnTo>
                      <a:pt x="65" y="648"/>
                    </a:lnTo>
                    <a:lnTo>
                      <a:pt x="69" y="654"/>
                    </a:lnTo>
                    <a:lnTo>
                      <a:pt x="78" y="654"/>
                    </a:lnTo>
                    <a:lnTo>
                      <a:pt x="77" y="666"/>
                    </a:lnTo>
                    <a:lnTo>
                      <a:pt x="82" y="670"/>
                    </a:lnTo>
                    <a:lnTo>
                      <a:pt x="94" y="685"/>
                    </a:lnTo>
                    <a:lnTo>
                      <a:pt x="94" y="676"/>
                    </a:lnTo>
                    <a:lnTo>
                      <a:pt x="97" y="672"/>
                    </a:lnTo>
                    <a:lnTo>
                      <a:pt x="102" y="682"/>
                    </a:lnTo>
                    <a:lnTo>
                      <a:pt x="111" y="690"/>
                    </a:lnTo>
                    <a:lnTo>
                      <a:pt x="105" y="699"/>
                    </a:lnTo>
                    <a:lnTo>
                      <a:pt x="106" y="702"/>
                    </a:lnTo>
                    <a:lnTo>
                      <a:pt x="110" y="704"/>
                    </a:lnTo>
                    <a:lnTo>
                      <a:pt x="116" y="701"/>
                    </a:lnTo>
                    <a:lnTo>
                      <a:pt x="123" y="703"/>
                    </a:lnTo>
                    <a:lnTo>
                      <a:pt x="141" y="712"/>
                    </a:lnTo>
                    <a:lnTo>
                      <a:pt x="162" y="718"/>
                    </a:lnTo>
                    <a:lnTo>
                      <a:pt x="172" y="724"/>
                    </a:lnTo>
                    <a:lnTo>
                      <a:pt x="186" y="729"/>
                    </a:lnTo>
                    <a:lnTo>
                      <a:pt x="199" y="726"/>
                    </a:lnTo>
                    <a:lnTo>
                      <a:pt x="204" y="722"/>
                    </a:lnTo>
                    <a:lnTo>
                      <a:pt x="205" y="719"/>
                    </a:lnTo>
                    <a:lnTo>
                      <a:pt x="196" y="713"/>
                    </a:lnTo>
                    <a:lnTo>
                      <a:pt x="184" y="696"/>
                    </a:lnTo>
                    <a:lnTo>
                      <a:pt x="179" y="688"/>
                    </a:lnTo>
                    <a:lnTo>
                      <a:pt x="180" y="685"/>
                    </a:lnTo>
                    <a:lnTo>
                      <a:pt x="195" y="689"/>
                    </a:lnTo>
                    <a:lnTo>
                      <a:pt x="198" y="706"/>
                    </a:lnTo>
                    <a:lnTo>
                      <a:pt x="206" y="706"/>
                    </a:lnTo>
                    <a:lnTo>
                      <a:pt x="206" y="706"/>
                    </a:lnTo>
                    <a:lnTo>
                      <a:pt x="206" y="718"/>
                    </a:lnTo>
                    <a:lnTo>
                      <a:pt x="207" y="720"/>
                    </a:lnTo>
                    <a:lnTo>
                      <a:pt x="220" y="727"/>
                    </a:lnTo>
                    <a:lnTo>
                      <a:pt x="217" y="731"/>
                    </a:lnTo>
                    <a:lnTo>
                      <a:pt x="226" y="739"/>
                    </a:lnTo>
                    <a:lnTo>
                      <a:pt x="225" y="749"/>
                    </a:lnTo>
                    <a:lnTo>
                      <a:pt x="240" y="760"/>
                    </a:lnTo>
                    <a:lnTo>
                      <a:pt x="244" y="774"/>
                    </a:lnTo>
                    <a:lnTo>
                      <a:pt x="253" y="783"/>
                    </a:lnTo>
                    <a:lnTo>
                      <a:pt x="254" y="788"/>
                    </a:lnTo>
                    <a:lnTo>
                      <a:pt x="247" y="786"/>
                    </a:lnTo>
                    <a:lnTo>
                      <a:pt x="243" y="793"/>
                    </a:lnTo>
                    <a:lnTo>
                      <a:pt x="256" y="805"/>
                    </a:lnTo>
                    <a:lnTo>
                      <a:pt x="255" y="809"/>
                    </a:lnTo>
                    <a:lnTo>
                      <a:pt x="258" y="812"/>
                    </a:lnTo>
                    <a:lnTo>
                      <a:pt x="265" y="832"/>
                    </a:lnTo>
                    <a:lnTo>
                      <a:pt x="272" y="830"/>
                    </a:lnTo>
                    <a:lnTo>
                      <a:pt x="279" y="831"/>
                    </a:lnTo>
                    <a:lnTo>
                      <a:pt x="272" y="823"/>
                    </a:lnTo>
                    <a:lnTo>
                      <a:pt x="272" y="820"/>
                    </a:lnTo>
                    <a:lnTo>
                      <a:pt x="275" y="819"/>
                    </a:lnTo>
                    <a:lnTo>
                      <a:pt x="280" y="823"/>
                    </a:lnTo>
                    <a:lnTo>
                      <a:pt x="295" y="823"/>
                    </a:lnTo>
                    <a:lnTo>
                      <a:pt x="296" y="837"/>
                    </a:lnTo>
                    <a:lnTo>
                      <a:pt x="302" y="833"/>
                    </a:lnTo>
                    <a:lnTo>
                      <a:pt x="308" y="840"/>
                    </a:lnTo>
                    <a:lnTo>
                      <a:pt x="312" y="834"/>
                    </a:lnTo>
                    <a:lnTo>
                      <a:pt x="323" y="845"/>
                    </a:lnTo>
                    <a:lnTo>
                      <a:pt x="334" y="843"/>
                    </a:lnTo>
                    <a:lnTo>
                      <a:pt x="339" y="846"/>
                    </a:lnTo>
                    <a:lnTo>
                      <a:pt x="340" y="863"/>
                    </a:lnTo>
                    <a:lnTo>
                      <a:pt x="347" y="868"/>
                    </a:lnTo>
                    <a:lnTo>
                      <a:pt x="359" y="865"/>
                    </a:lnTo>
                    <a:lnTo>
                      <a:pt x="362" y="865"/>
                    </a:lnTo>
                    <a:lnTo>
                      <a:pt x="379" y="867"/>
                    </a:lnTo>
                    <a:lnTo>
                      <a:pt x="388" y="861"/>
                    </a:lnTo>
                    <a:lnTo>
                      <a:pt x="394" y="861"/>
                    </a:lnTo>
                    <a:lnTo>
                      <a:pt x="398" y="865"/>
                    </a:lnTo>
                    <a:lnTo>
                      <a:pt x="397" y="874"/>
                    </a:lnTo>
                    <a:lnTo>
                      <a:pt x="406" y="895"/>
                    </a:lnTo>
                    <a:lnTo>
                      <a:pt x="403" y="898"/>
                    </a:lnTo>
                    <a:lnTo>
                      <a:pt x="398" y="898"/>
                    </a:lnTo>
                    <a:lnTo>
                      <a:pt x="394" y="907"/>
                    </a:lnTo>
                    <a:lnTo>
                      <a:pt x="386" y="909"/>
                    </a:lnTo>
                    <a:lnTo>
                      <a:pt x="374" y="931"/>
                    </a:lnTo>
                    <a:lnTo>
                      <a:pt x="370" y="949"/>
                    </a:lnTo>
                    <a:lnTo>
                      <a:pt x="361" y="961"/>
                    </a:lnTo>
                    <a:lnTo>
                      <a:pt x="359" y="969"/>
                    </a:lnTo>
                    <a:lnTo>
                      <a:pt x="362" y="982"/>
                    </a:lnTo>
                    <a:lnTo>
                      <a:pt x="356" y="1006"/>
                    </a:lnTo>
                    <a:lnTo>
                      <a:pt x="353" y="1009"/>
                    </a:lnTo>
                    <a:lnTo>
                      <a:pt x="352" y="1010"/>
                    </a:lnTo>
                    <a:lnTo>
                      <a:pt x="335" y="1009"/>
                    </a:lnTo>
                    <a:lnTo>
                      <a:pt x="326" y="1001"/>
                    </a:lnTo>
                    <a:lnTo>
                      <a:pt x="320" y="988"/>
                    </a:lnTo>
                    <a:lnTo>
                      <a:pt x="309" y="982"/>
                    </a:lnTo>
                    <a:lnTo>
                      <a:pt x="301" y="989"/>
                    </a:lnTo>
                    <a:lnTo>
                      <a:pt x="291" y="988"/>
                    </a:lnTo>
                    <a:lnTo>
                      <a:pt x="287" y="992"/>
                    </a:lnTo>
                    <a:lnTo>
                      <a:pt x="283" y="995"/>
                    </a:lnTo>
                    <a:lnTo>
                      <a:pt x="270" y="1023"/>
                    </a:lnTo>
                    <a:lnTo>
                      <a:pt x="266" y="1037"/>
                    </a:lnTo>
                    <a:lnTo>
                      <a:pt x="267" y="1043"/>
                    </a:lnTo>
                    <a:lnTo>
                      <a:pt x="256" y="1062"/>
                    </a:lnTo>
                    <a:lnTo>
                      <a:pt x="258" y="1074"/>
                    </a:lnTo>
                    <a:lnTo>
                      <a:pt x="251" y="1081"/>
                    </a:lnTo>
                    <a:lnTo>
                      <a:pt x="245" y="1082"/>
                    </a:lnTo>
                    <a:lnTo>
                      <a:pt x="243" y="1087"/>
                    </a:lnTo>
                    <a:lnTo>
                      <a:pt x="248" y="1096"/>
                    </a:lnTo>
                    <a:lnTo>
                      <a:pt x="248" y="1097"/>
                    </a:lnTo>
                    <a:lnTo>
                      <a:pt x="247" y="1101"/>
                    </a:lnTo>
                    <a:lnTo>
                      <a:pt x="239" y="1110"/>
                    </a:lnTo>
                    <a:lnTo>
                      <a:pt x="222" y="1120"/>
                    </a:lnTo>
                    <a:lnTo>
                      <a:pt x="218" y="1125"/>
                    </a:lnTo>
                    <a:lnTo>
                      <a:pt x="220" y="1145"/>
                    </a:lnTo>
                    <a:lnTo>
                      <a:pt x="215" y="1154"/>
                    </a:lnTo>
                    <a:lnTo>
                      <a:pt x="209" y="1155"/>
                    </a:lnTo>
                    <a:lnTo>
                      <a:pt x="206" y="1151"/>
                    </a:lnTo>
                    <a:lnTo>
                      <a:pt x="203" y="1158"/>
                    </a:lnTo>
                    <a:lnTo>
                      <a:pt x="193" y="1165"/>
                    </a:lnTo>
                    <a:lnTo>
                      <a:pt x="195" y="1190"/>
                    </a:lnTo>
                    <a:lnTo>
                      <a:pt x="199" y="1205"/>
                    </a:lnTo>
                    <a:lnTo>
                      <a:pt x="206" y="1214"/>
                    </a:lnTo>
                    <a:lnTo>
                      <a:pt x="219" y="1214"/>
                    </a:lnTo>
                    <a:lnTo>
                      <a:pt x="223" y="1221"/>
                    </a:lnTo>
                    <a:lnTo>
                      <a:pt x="221" y="1230"/>
                    </a:lnTo>
                    <a:lnTo>
                      <a:pt x="225" y="1235"/>
                    </a:lnTo>
                    <a:lnTo>
                      <a:pt x="235" y="1240"/>
                    </a:lnTo>
                    <a:lnTo>
                      <a:pt x="249" y="1247"/>
                    </a:lnTo>
                    <a:lnTo>
                      <a:pt x="245" y="1278"/>
                    </a:lnTo>
                    <a:lnTo>
                      <a:pt x="252" y="1283"/>
                    </a:lnTo>
                    <a:lnTo>
                      <a:pt x="257" y="1282"/>
                    </a:lnTo>
                    <a:lnTo>
                      <a:pt x="270" y="1256"/>
                    </a:lnTo>
                    <a:lnTo>
                      <a:pt x="279" y="1245"/>
                    </a:lnTo>
                    <a:lnTo>
                      <a:pt x="291" y="1244"/>
                    </a:lnTo>
                    <a:lnTo>
                      <a:pt x="299" y="1229"/>
                    </a:lnTo>
                    <a:lnTo>
                      <a:pt x="319" y="1206"/>
                    </a:lnTo>
                    <a:lnTo>
                      <a:pt x="329" y="1198"/>
                    </a:lnTo>
                    <a:lnTo>
                      <a:pt x="339" y="1181"/>
                    </a:lnTo>
                    <a:lnTo>
                      <a:pt x="346" y="1176"/>
                    </a:lnTo>
                    <a:lnTo>
                      <a:pt x="352" y="1176"/>
                    </a:lnTo>
                    <a:lnTo>
                      <a:pt x="365" y="1175"/>
                    </a:lnTo>
                    <a:lnTo>
                      <a:pt x="391" y="1148"/>
                    </a:lnTo>
                    <a:lnTo>
                      <a:pt x="392" y="1143"/>
                    </a:lnTo>
                    <a:lnTo>
                      <a:pt x="388" y="1134"/>
                    </a:lnTo>
                    <a:lnTo>
                      <a:pt x="375" y="1118"/>
                    </a:lnTo>
                    <a:lnTo>
                      <a:pt x="388" y="1090"/>
                    </a:lnTo>
                    <a:lnTo>
                      <a:pt x="392" y="1067"/>
                    </a:lnTo>
                    <a:lnTo>
                      <a:pt x="410" y="1048"/>
                    </a:lnTo>
                    <a:lnTo>
                      <a:pt x="413" y="1039"/>
                    </a:lnTo>
                    <a:lnTo>
                      <a:pt x="408" y="1023"/>
                    </a:lnTo>
                    <a:lnTo>
                      <a:pt x="409" y="1014"/>
                    </a:lnTo>
                    <a:lnTo>
                      <a:pt x="410" y="1007"/>
                    </a:lnTo>
                    <a:lnTo>
                      <a:pt x="415" y="991"/>
                    </a:lnTo>
                    <a:lnTo>
                      <a:pt x="433" y="975"/>
                    </a:lnTo>
                    <a:lnTo>
                      <a:pt x="436" y="916"/>
                    </a:lnTo>
                    <a:lnTo>
                      <a:pt x="440" y="912"/>
                    </a:lnTo>
                    <a:lnTo>
                      <a:pt x="446" y="912"/>
                    </a:lnTo>
                    <a:lnTo>
                      <a:pt x="448" y="907"/>
                    </a:lnTo>
                    <a:lnTo>
                      <a:pt x="437" y="889"/>
                    </a:lnTo>
                    <a:lnTo>
                      <a:pt x="435" y="872"/>
                    </a:lnTo>
                    <a:lnTo>
                      <a:pt x="436" y="860"/>
                    </a:lnTo>
                    <a:lnTo>
                      <a:pt x="442" y="834"/>
                    </a:lnTo>
                    <a:lnTo>
                      <a:pt x="446" y="822"/>
                    </a:lnTo>
                    <a:lnTo>
                      <a:pt x="448" y="816"/>
                    </a:lnTo>
                    <a:lnTo>
                      <a:pt x="462" y="799"/>
                    </a:lnTo>
                    <a:lnTo>
                      <a:pt x="479" y="784"/>
                    </a:lnTo>
                    <a:lnTo>
                      <a:pt x="507" y="772"/>
                    </a:lnTo>
                    <a:lnTo>
                      <a:pt x="527" y="760"/>
                    </a:lnTo>
                    <a:lnTo>
                      <a:pt x="537" y="758"/>
                    </a:lnTo>
                    <a:lnTo>
                      <a:pt x="574" y="759"/>
                    </a:lnTo>
                    <a:lnTo>
                      <a:pt x="578" y="755"/>
                    </a:lnTo>
                    <a:lnTo>
                      <a:pt x="584" y="760"/>
                    </a:lnTo>
                    <a:lnTo>
                      <a:pt x="587" y="766"/>
                    </a:lnTo>
                    <a:lnTo>
                      <a:pt x="611" y="753"/>
                    </a:lnTo>
                    <a:lnTo>
                      <a:pt x="612" y="742"/>
                    </a:lnTo>
                    <a:lnTo>
                      <a:pt x="612" y="740"/>
                    </a:lnTo>
                    <a:lnTo>
                      <a:pt x="614" y="734"/>
                    </a:lnTo>
                    <a:lnTo>
                      <a:pt x="626" y="723"/>
                    </a:lnTo>
                    <a:lnTo>
                      <a:pt x="633" y="724"/>
                    </a:lnTo>
                    <a:lnTo>
                      <a:pt x="636" y="729"/>
                    </a:lnTo>
                    <a:lnTo>
                      <a:pt x="634" y="737"/>
                    </a:lnTo>
                    <a:lnTo>
                      <a:pt x="640" y="734"/>
                    </a:lnTo>
                    <a:lnTo>
                      <a:pt x="650" y="739"/>
                    </a:lnTo>
                    <a:lnTo>
                      <a:pt x="654" y="745"/>
                    </a:lnTo>
                    <a:lnTo>
                      <a:pt x="656" y="757"/>
                    </a:lnTo>
                    <a:lnTo>
                      <a:pt x="660" y="764"/>
                    </a:lnTo>
                    <a:lnTo>
                      <a:pt x="669" y="762"/>
                    </a:lnTo>
                    <a:lnTo>
                      <a:pt x="689" y="711"/>
                    </a:lnTo>
                    <a:lnTo>
                      <a:pt x="693" y="708"/>
                    </a:lnTo>
                    <a:lnTo>
                      <a:pt x="698" y="713"/>
                    </a:lnTo>
                    <a:lnTo>
                      <a:pt x="698" y="724"/>
                    </a:lnTo>
                    <a:lnTo>
                      <a:pt x="700" y="734"/>
                    </a:lnTo>
                    <a:lnTo>
                      <a:pt x="711" y="740"/>
                    </a:lnTo>
                    <a:lnTo>
                      <a:pt x="713" y="754"/>
                    </a:lnTo>
                    <a:lnTo>
                      <a:pt x="713" y="757"/>
                    </a:lnTo>
                    <a:lnTo>
                      <a:pt x="718" y="759"/>
                    </a:lnTo>
                    <a:lnTo>
                      <a:pt x="735" y="739"/>
                    </a:lnTo>
                    <a:lnTo>
                      <a:pt x="745" y="737"/>
                    </a:lnTo>
                    <a:lnTo>
                      <a:pt x="751" y="752"/>
                    </a:lnTo>
                    <a:lnTo>
                      <a:pt x="764" y="731"/>
                    </a:lnTo>
                    <a:lnTo>
                      <a:pt x="764" y="720"/>
                    </a:lnTo>
                    <a:lnTo>
                      <a:pt x="773" y="702"/>
                    </a:lnTo>
                    <a:lnTo>
                      <a:pt x="784" y="701"/>
                    </a:lnTo>
                    <a:lnTo>
                      <a:pt x="791" y="703"/>
                    </a:lnTo>
                    <a:lnTo>
                      <a:pt x="800" y="714"/>
                    </a:lnTo>
                    <a:lnTo>
                      <a:pt x="800" y="719"/>
                    </a:lnTo>
                    <a:lnTo>
                      <a:pt x="792" y="734"/>
                    </a:lnTo>
                    <a:lnTo>
                      <a:pt x="785" y="733"/>
                    </a:lnTo>
                    <a:lnTo>
                      <a:pt x="784" y="744"/>
                    </a:lnTo>
                    <a:lnTo>
                      <a:pt x="789" y="758"/>
                    </a:lnTo>
                    <a:lnTo>
                      <a:pt x="795" y="757"/>
                    </a:lnTo>
                    <a:lnTo>
                      <a:pt x="797" y="757"/>
                    </a:lnTo>
                    <a:lnTo>
                      <a:pt x="802" y="748"/>
                    </a:lnTo>
                    <a:lnTo>
                      <a:pt x="805" y="735"/>
                    </a:lnTo>
                    <a:lnTo>
                      <a:pt x="810" y="737"/>
                    </a:lnTo>
                    <a:lnTo>
                      <a:pt x="809" y="746"/>
                    </a:lnTo>
                    <a:lnTo>
                      <a:pt x="811" y="749"/>
                    </a:lnTo>
                    <a:lnTo>
                      <a:pt x="822" y="750"/>
                    </a:lnTo>
                    <a:lnTo>
                      <a:pt x="822" y="754"/>
                    </a:lnTo>
                    <a:lnTo>
                      <a:pt x="837" y="766"/>
                    </a:lnTo>
                    <a:lnTo>
                      <a:pt x="849" y="772"/>
                    </a:lnTo>
                    <a:lnTo>
                      <a:pt x="860" y="770"/>
                    </a:lnTo>
                    <a:lnTo>
                      <a:pt x="883" y="758"/>
                    </a:lnTo>
                    <a:lnTo>
                      <a:pt x="885" y="751"/>
                    </a:lnTo>
                    <a:lnTo>
                      <a:pt x="884" y="745"/>
                    </a:lnTo>
                    <a:lnTo>
                      <a:pt x="877" y="737"/>
                    </a:lnTo>
                    <a:lnTo>
                      <a:pt x="879" y="729"/>
                    </a:lnTo>
                    <a:lnTo>
                      <a:pt x="862" y="720"/>
                    </a:lnTo>
                    <a:lnTo>
                      <a:pt x="844" y="694"/>
                    </a:lnTo>
                    <a:lnTo>
                      <a:pt x="841" y="690"/>
                    </a:lnTo>
                    <a:lnTo>
                      <a:pt x="842" y="678"/>
                    </a:lnTo>
                    <a:lnTo>
                      <a:pt x="845" y="670"/>
                    </a:lnTo>
                    <a:lnTo>
                      <a:pt x="858" y="663"/>
                    </a:lnTo>
                    <a:lnTo>
                      <a:pt x="875" y="661"/>
                    </a:lnTo>
                    <a:lnTo>
                      <a:pt x="899" y="678"/>
                    </a:lnTo>
                    <a:lnTo>
                      <a:pt x="907" y="679"/>
                    </a:lnTo>
                    <a:lnTo>
                      <a:pt x="932" y="676"/>
                    </a:lnTo>
                    <a:lnTo>
                      <a:pt x="951" y="686"/>
                    </a:lnTo>
                    <a:lnTo>
                      <a:pt x="954" y="692"/>
                    </a:lnTo>
                    <a:lnTo>
                      <a:pt x="957" y="691"/>
                    </a:lnTo>
                    <a:lnTo>
                      <a:pt x="962" y="673"/>
                    </a:lnTo>
                    <a:lnTo>
                      <a:pt x="961" y="667"/>
                    </a:lnTo>
                    <a:lnTo>
                      <a:pt x="966" y="663"/>
                    </a:lnTo>
                    <a:lnTo>
                      <a:pt x="961" y="653"/>
                    </a:lnTo>
                    <a:lnTo>
                      <a:pt x="962" y="645"/>
                    </a:lnTo>
                    <a:lnTo>
                      <a:pt x="972" y="636"/>
                    </a:lnTo>
                    <a:lnTo>
                      <a:pt x="977" y="631"/>
                    </a:lnTo>
                    <a:lnTo>
                      <a:pt x="985" y="629"/>
                    </a:lnTo>
                    <a:lnTo>
                      <a:pt x="982" y="604"/>
                    </a:lnTo>
                    <a:lnTo>
                      <a:pt x="979" y="596"/>
                    </a:lnTo>
                    <a:lnTo>
                      <a:pt x="981" y="592"/>
                    </a:lnTo>
                    <a:lnTo>
                      <a:pt x="988" y="589"/>
                    </a:lnTo>
                    <a:lnTo>
                      <a:pt x="983" y="575"/>
                    </a:lnTo>
                    <a:lnTo>
                      <a:pt x="979" y="571"/>
                    </a:lnTo>
                    <a:lnTo>
                      <a:pt x="985" y="565"/>
                    </a:lnTo>
                    <a:lnTo>
                      <a:pt x="987" y="562"/>
                    </a:lnTo>
                    <a:lnTo>
                      <a:pt x="998" y="571"/>
                    </a:lnTo>
                    <a:lnTo>
                      <a:pt x="997" y="577"/>
                    </a:lnTo>
                    <a:lnTo>
                      <a:pt x="1004" y="585"/>
                    </a:lnTo>
                    <a:lnTo>
                      <a:pt x="997" y="588"/>
                    </a:lnTo>
                    <a:lnTo>
                      <a:pt x="996" y="592"/>
                    </a:lnTo>
                    <a:lnTo>
                      <a:pt x="1009" y="607"/>
                    </a:lnTo>
                    <a:lnTo>
                      <a:pt x="1008" y="613"/>
                    </a:lnTo>
                    <a:lnTo>
                      <a:pt x="1001" y="622"/>
                    </a:lnTo>
                    <a:lnTo>
                      <a:pt x="1011" y="622"/>
                    </a:lnTo>
                    <a:lnTo>
                      <a:pt x="1025" y="625"/>
                    </a:lnTo>
                    <a:lnTo>
                      <a:pt x="1046" y="622"/>
                    </a:lnTo>
                    <a:lnTo>
                      <a:pt x="1043" y="614"/>
                    </a:lnTo>
                    <a:lnTo>
                      <a:pt x="1045" y="595"/>
                    </a:lnTo>
                    <a:lnTo>
                      <a:pt x="1055" y="588"/>
                    </a:lnTo>
                    <a:lnTo>
                      <a:pt x="1048" y="584"/>
                    </a:lnTo>
                    <a:lnTo>
                      <a:pt x="1053" y="580"/>
                    </a:lnTo>
                    <a:lnTo>
                      <a:pt x="1051" y="573"/>
                    </a:lnTo>
                    <a:lnTo>
                      <a:pt x="1056" y="564"/>
                    </a:lnTo>
                    <a:lnTo>
                      <a:pt x="1062" y="561"/>
                    </a:lnTo>
                    <a:lnTo>
                      <a:pt x="1068" y="546"/>
                    </a:lnTo>
                    <a:lnTo>
                      <a:pt x="1073" y="545"/>
                    </a:lnTo>
                    <a:lnTo>
                      <a:pt x="1076" y="538"/>
                    </a:lnTo>
                    <a:lnTo>
                      <a:pt x="1082" y="545"/>
                    </a:lnTo>
                    <a:lnTo>
                      <a:pt x="1087" y="543"/>
                    </a:lnTo>
                    <a:lnTo>
                      <a:pt x="1081" y="530"/>
                    </a:lnTo>
                    <a:lnTo>
                      <a:pt x="1061" y="517"/>
                    </a:lnTo>
                    <a:lnTo>
                      <a:pt x="1058" y="513"/>
                    </a:lnTo>
                    <a:lnTo>
                      <a:pt x="1047" y="515"/>
                    </a:lnTo>
                    <a:lnTo>
                      <a:pt x="1047" y="511"/>
                    </a:lnTo>
                    <a:lnTo>
                      <a:pt x="1055" y="508"/>
                    </a:lnTo>
                    <a:lnTo>
                      <a:pt x="1051" y="502"/>
                    </a:lnTo>
                    <a:lnTo>
                      <a:pt x="1056" y="499"/>
                    </a:lnTo>
                    <a:lnTo>
                      <a:pt x="1065" y="504"/>
                    </a:lnTo>
                    <a:lnTo>
                      <a:pt x="1067" y="504"/>
                    </a:lnTo>
                    <a:lnTo>
                      <a:pt x="1068" y="496"/>
                    </a:lnTo>
                    <a:lnTo>
                      <a:pt x="1072" y="493"/>
                    </a:lnTo>
                    <a:lnTo>
                      <a:pt x="1068" y="488"/>
                    </a:lnTo>
                    <a:lnTo>
                      <a:pt x="1070" y="483"/>
                    </a:lnTo>
                    <a:lnTo>
                      <a:pt x="1073" y="481"/>
                    </a:lnTo>
                    <a:lnTo>
                      <a:pt x="1088" y="495"/>
                    </a:lnTo>
                    <a:lnTo>
                      <a:pt x="1101" y="521"/>
                    </a:lnTo>
                    <a:lnTo>
                      <a:pt x="1111" y="528"/>
                    </a:lnTo>
                    <a:lnTo>
                      <a:pt x="1118" y="530"/>
                    </a:lnTo>
                    <a:lnTo>
                      <a:pt x="1125" y="527"/>
                    </a:lnTo>
                    <a:lnTo>
                      <a:pt x="1130" y="518"/>
                    </a:lnTo>
                    <a:lnTo>
                      <a:pt x="1132" y="525"/>
                    </a:lnTo>
                    <a:lnTo>
                      <a:pt x="1143" y="530"/>
                    </a:lnTo>
                    <a:lnTo>
                      <a:pt x="1154" y="530"/>
                    </a:lnTo>
                    <a:lnTo>
                      <a:pt x="1152" y="526"/>
                    </a:lnTo>
                    <a:lnTo>
                      <a:pt x="1145" y="524"/>
                    </a:lnTo>
                    <a:lnTo>
                      <a:pt x="1142" y="522"/>
                    </a:lnTo>
                    <a:lnTo>
                      <a:pt x="1149" y="515"/>
                    </a:lnTo>
                    <a:lnTo>
                      <a:pt x="1147" y="489"/>
                    </a:lnTo>
                    <a:lnTo>
                      <a:pt x="1152" y="481"/>
                    </a:lnTo>
                    <a:lnTo>
                      <a:pt x="1155" y="479"/>
                    </a:lnTo>
                    <a:lnTo>
                      <a:pt x="1166" y="474"/>
                    </a:lnTo>
                    <a:lnTo>
                      <a:pt x="1171" y="474"/>
                    </a:lnTo>
                    <a:lnTo>
                      <a:pt x="1175" y="478"/>
                    </a:lnTo>
                    <a:lnTo>
                      <a:pt x="1168" y="486"/>
                    </a:lnTo>
                    <a:lnTo>
                      <a:pt x="1156" y="485"/>
                    </a:lnTo>
                    <a:lnTo>
                      <a:pt x="1155" y="492"/>
                    </a:lnTo>
                    <a:lnTo>
                      <a:pt x="1158" y="497"/>
                    </a:lnTo>
                    <a:lnTo>
                      <a:pt x="1167" y="497"/>
                    </a:lnTo>
                    <a:lnTo>
                      <a:pt x="1178" y="492"/>
                    </a:lnTo>
                    <a:lnTo>
                      <a:pt x="1178" y="498"/>
                    </a:lnTo>
                    <a:lnTo>
                      <a:pt x="1194" y="498"/>
                    </a:lnTo>
                    <a:lnTo>
                      <a:pt x="1198" y="485"/>
                    </a:lnTo>
                    <a:lnTo>
                      <a:pt x="1197" y="482"/>
                    </a:lnTo>
                    <a:lnTo>
                      <a:pt x="1189" y="486"/>
                    </a:lnTo>
                    <a:lnTo>
                      <a:pt x="1186" y="485"/>
                    </a:lnTo>
                    <a:lnTo>
                      <a:pt x="1187" y="479"/>
                    </a:lnTo>
                    <a:lnTo>
                      <a:pt x="1183" y="462"/>
                    </a:lnTo>
                    <a:lnTo>
                      <a:pt x="1184" y="452"/>
                    </a:lnTo>
                    <a:lnTo>
                      <a:pt x="1189" y="449"/>
                    </a:lnTo>
                    <a:lnTo>
                      <a:pt x="1182" y="433"/>
                    </a:lnTo>
                    <a:lnTo>
                      <a:pt x="1186" y="426"/>
                    </a:lnTo>
                    <a:lnTo>
                      <a:pt x="1185" y="417"/>
                    </a:lnTo>
                    <a:lnTo>
                      <a:pt x="1189" y="418"/>
                    </a:lnTo>
                    <a:lnTo>
                      <a:pt x="1192" y="419"/>
                    </a:lnTo>
                    <a:lnTo>
                      <a:pt x="1199" y="417"/>
                    </a:lnTo>
                    <a:lnTo>
                      <a:pt x="1204" y="420"/>
                    </a:lnTo>
                    <a:lnTo>
                      <a:pt x="1211" y="420"/>
                    </a:lnTo>
                    <a:lnTo>
                      <a:pt x="1215" y="417"/>
                    </a:lnTo>
                    <a:lnTo>
                      <a:pt x="1222" y="418"/>
                    </a:lnTo>
                    <a:lnTo>
                      <a:pt x="1221" y="426"/>
                    </a:lnTo>
                    <a:lnTo>
                      <a:pt x="1214" y="436"/>
                    </a:lnTo>
                    <a:lnTo>
                      <a:pt x="1216" y="439"/>
                    </a:lnTo>
                    <a:lnTo>
                      <a:pt x="1222" y="438"/>
                    </a:lnTo>
                    <a:lnTo>
                      <a:pt x="1239" y="429"/>
                    </a:lnTo>
                    <a:lnTo>
                      <a:pt x="1239" y="424"/>
                    </a:lnTo>
                    <a:lnTo>
                      <a:pt x="1246" y="419"/>
                    </a:lnTo>
                    <a:lnTo>
                      <a:pt x="1242" y="413"/>
                    </a:lnTo>
                    <a:lnTo>
                      <a:pt x="1252" y="407"/>
                    </a:lnTo>
                    <a:lnTo>
                      <a:pt x="1249" y="396"/>
                    </a:lnTo>
                    <a:lnTo>
                      <a:pt x="1256" y="396"/>
                    </a:lnTo>
                    <a:lnTo>
                      <a:pt x="1263" y="392"/>
                    </a:lnTo>
                    <a:lnTo>
                      <a:pt x="1258" y="383"/>
                    </a:lnTo>
                    <a:lnTo>
                      <a:pt x="1255" y="370"/>
                    </a:lnTo>
                    <a:lnTo>
                      <a:pt x="1256" y="360"/>
                    </a:lnTo>
                    <a:lnTo>
                      <a:pt x="1262" y="353"/>
                    </a:lnTo>
                    <a:lnTo>
                      <a:pt x="1263" y="343"/>
                    </a:lnTo>
                    <a:lnTo>
                      <a:pt x="1268" y="339"/>
                    </a:lnTo>
                    <a:lnTo>
                      <a:pt x="1269" y="348"/>
                    </a:lnTo>
                    <a:lnTo>
                      <a:pt x="1271" y="358"/>
                    </a:lnTo>
                    <a:lnTo>
                      <a:pt x="1274" y="359"/>
                    </a:lnTo>
                    <a:lnTo>
                      <a:pt x="1278" y="375"/>
                    </a:lnTo>
                    <a:lnTo>
                      <a:pt x="1281" y="374"/>
                    </a:lnTo>
                    <a:lnTo>
                      <a:pt x="1279" y="363"/>
                    </a:lnTo>
                    <a:lnTo>
                      <a:pt x="1282" y="345"/>
                    </a:lnTo>
                    <a:lnTo>
                      <a:pt x="1289" y="343"/>
                    </a:lnTo>
                    <a:lnTo>
                      <a:pt x="1297" y="346"/>
                    </a:lnTo>
                    <a:lnTo>
                      <a:pt x="1318" y="344"/>
                    </a:lnTo>
                    <a:lnTo>
                      <a:pt x="1323" y="353"/>
                    </a:lnTo>
                    <a:lnTo>
                      <a:pt x="1319" y="357"/>
                    </a:lnTo>
                    <a:lnTo>
                      <a:pt x="1310" y="356"/>
                    </a:lnTo>
                    <a:lnTo>
                      <a:pt x="1292" y="369"/>
                    </a:lnTo>
                    <a:lnTo>
                      <a:pt x="1288" y="375"/>
                    </a:lnTo>
                    <a:lnTo>
                      <a:pt x="1289" y="380"/>
                    </a:lnTo>
                    <a:lnTo>
                      <a:pt x="1298" y="374"/>
                    </a:lnTo>
                    <a:lnTo>
                      <a:pt x="1302" y="374"/>
                    </a:lnTo>
                    <a:lnTo>
                      <a:pt x="1308" y="384"/>
                    </a:lnTo>
                    <a:lnTo>
                      <a:pt x="1307" y="394"/>
                    </a:lnTo>
                    <a:lnTo>
                      <a:pt x="1309" y="398"/>
                    </a:lnTo>
                    <a:lnTo>
                      <a:pt x="1314" y="394"/>
                    </a:lnTo>
                    <a:lnTo>
                      <a:pt x="1315" y="393"/>
                    </a:lnTo>
                    <a:lnTo>
                      <a:pt x="1317" y="410"/>
                    </a:lnTo>
                    <a:lnTo>
                      <a:pt x="1323" y="412"/>
                    </a:lnTo>
                    <a:lnTo>
                      <a:pt x="1330" y="406"/>
                    </a:lnTo>
                    <a:lnTo>
                      <a:pt x="1338" y="414"/>
                    </a:lnTo>
                    <a:lnTo>
                      <a:pt x="1349" y="417"/>
                    </a:lnTo>
                    <a:lnTo>
                      <a:pt x="1358" y="415"/>
                    </a:lnTo>
                    <a:lnTo>
                      <a:pt x="1361" y="408"/>
                    </a:lnTo>
                    <a:lnTo>
                      <a:pt x="1355" y="399"/>
                    </a:lnTo>
                    <a:lnTo>
                      <a:pt x="1354" y="392"/>
                    </a:lnTo>
                    <a:lnTo>
                      <a:pt x="1351" y="392"/>
                    </a:lnTo>
                    <a:lnTo>
                      <a:pt x="1349" y="396"/>
                    </a:lnTo>
                    <a:lnTo>
                      <a:pt x="1342" y="396"/>
                    </a:lnTo>
                    <a:lnTo>
                      <a:pt x="1338" y="388"/>
                    </a:lnTo>
                    <a:lnTo>
                      <a:pt x="1326" y="376"/>
                    </a:lnTo>
                    <a:lnTo>
                      <a:pt x="1330" y="369"/>
                    </a:lnTo>
                    <a:lnTo>
                      <a:pt x="1339" y="368"/>
                    </a:lnTo>
                    <a:lnTo>
                      <a:pt x="1350" y="368"/>
                    </a:lnTo>
                    <a:lnTo>
                      <a:pt x="1358" y="371"/>
                    </a:lnTo>
                    <a:lnTo>
                      <a:pt x="1363" y="375"/>
                    </a:lnTo>
                    <a:lnTo>
                      <a:pt x="1371" y="363"/>
                    </a:lnTo>
                    <a:lnTo>
                      <a:pt x="1365" y="356"/>
                    </a:lnTo>
                    <a:lnTo>
                      <a:pt x="1369" y="349"/>
                    </a:lnTo>
                    <a:lnTo>
                      <a:pt x="1371" y="347"/>
                    </a:lnTo>
                    <a:lnTo>
                      <a:pt x="1376" y="348"/>
                    </a:lnTo>
                    <a:lnTo>
                      <a:pt x="1378" y="353"/>
                    </a:lnTo>
                    <a:lnTo>
                      <a:pt x="1378" y="364"/>
                    </a:lnTo>
                    <a:lnTo>
                      <a:pt x="1381" y="370"/>
                    </a:lnTo>
                    <a:lnTo>
                      <a:pt x="1381" y="374"/>
                    </a:lnTo>
                    <a:lnTo>
                      <a:pt x="1375" y="376"/>
                    </a:lnTo>
                    <a:lnTo>
                      <a:pt x="1373" y="380"/>
                    </a:lnTo>
                    <a:lnTo>
                      <a:pt x="1377" y="386"/>
                    </a:lnTo>
                    <a:lnTo>
                      <a:pt x="1385" y="386"/>
                    </a:lnTo>
                    <a:lnTo>
                      <a:pt x="1396" y="377"/>
                    </a:lnTo>
                    <a:lnTo>
                      <a:pt x="1399" y="382"/>
                    </a:lnTo>
                    <a:lnTo>
                      <a:pt x="1394" y="400"/>
                    </a:lnTo>
                    <a:lnTo>
                      <a:pt x="1398" y="410"/>
                    </a:lnTo>
                    <a:lnTo>
                      <a:pt x="1402" y="409"/>
                    </a:lnTo>
                    <a:lnTo>
                      <a:pt x="1407" y="403"/>
                    </a:lnTo>
                    <a:lnTo>
                      <a:pt x="1410" y="386"/>
                    </a:lnTo>
                    <a:lnTo>
                      <a:pt x="1417" y="379"/>
                    </a:lnTo>
                    <a:lnTo>
                      <a:pt x="1419" y="368"/>
                    </a:lnTo>
                    <a:lnTo>
                      <a:pt x="1413" y="362"/>
                    </a:lnTo>
                    <a:lnTo>
                      <a:pt x="1400" y="357"/>
                    </a:lnTo>
                    <a:lnTo>
                      <a:pt x="1394" y="338"/>
                    </a:lnTo>
                    <a:lnTo>
                      <a:pt x="1390" y="333"/>
                    </a:lnTo>
                    <a:lnTo>
                      <a:pt x="1388" y="332"/>
                    </a:lnTo>
                    <a:lnTo>
                      <a:pt x="1387" y="320"/>
                    </a:lnTo>
                    <a:lnTo>
                      <a:pt x="1377" y="325"/>
                    </a:lnTo>
                    <a:lnTo>
                      <a:pt x="1374" y="324"/>
                    </a:lnTo>
                    <a:lnTo>
                      <a:pt x="1370" y="319"/>
                    </a:lnTo>
                    <a:lnTo>
                      <a:pt x="1370" y="314"/>
                    </a:lnTo>
                    <a:lnTo>
                      <a:pt x="1357" y="306"/>
                    </a:lnTo>
                    <a:lnTo>
                      <a:pt x="1346" y="306"/>
                    </a:lnTo>
                    <a:lnTo>
                      <a:pt x="1324" y="298"/>
                    </a:lnTo>
                    <a:lnTo>
                      <a:pt x="1316" y="290"/>
                    </a:lnTo>
                    <a:lnTo>
                      <a:pt x="1291" y="275"/>
                    </a:lnTo>
                    <a:lnTo>
                      <a:pt x="1263" y="270"/>
                    </a:lnTo>
                    <a:lnTo>
                      <a:pt x="1249" y="258"/>
                    </a:lnTo>
                    <a:lnTo>
                      <a:pt x="1246" y="253"/>
                    </a:lnTo>
                    <a:lnTo>
                      <a:pt x="1242" y="236"/>
                    </a:lnTo>
                    <a:lnTo>
                      <a:pt x="1248" y="236"/>
                    </a:lnTo>
                    <a:lnTo>
                      <a:pt x="1249" y="234"/>
                    </a:lnTo>
                    <a:lnTo>
                      <a:pt x="1246" y="230"/>
                    </a:lnTo>
                    <a:lnTo>
                      <a:pt x="1242" y="224"/>
                    </a:lnTo>
                    <a:lnTo>
                      <a:pt x="1244" y="218"/>
                    </a:lnTo>
                    <a:lnTo>
                      <a:pt x="1243" y="215"/>
                    </a:lnTo>
                    <a:lnTo>
                      <a:pt x="1242" y="213"/>
                    </a:lnTo>
                    <a:lnTo>
                      <a:pt x="1240" y="208"/>
                    </a:lnTo>
                    <a:lnTo>
                      <a:pt x="1232" y="207"/>
                    </a:lnTo>
                    <a:lnTo>
                      <a:pt x="1224" y="203"/>
                    </a:lnTo>
                    <a:lnTo>
                      <a:pt x="1222" y="202"/>
                    </a:lnTo>
                    <a:lnTo>
                      <a:pt x="1216" y="203"/>
                    </a:lnTo>
                    <a:lnTo>
                      <a:pt x="1202" y="195"/>
                    </a:lnTo>
                    <a:lnTo>
                      <a:pt x="1186" y="200"/>
                    </a:lnTo>
                    <a:lnTo>
                      <a:pt x="1183" y="199"/>
                    </a:lnTo>
                    <a:lnTo>
                      <a:pt x="1184" y="193"/>
                    </a:lnTo>
                    <a:lnTo>
                      <a:pt x="1176" y="186"/>
                    </a:lnTo>
                    <a:lnTo>
                      <a:pt x="1177" y="180"/>
                    </a:lnTo>
                    <a:lnTo>
                      <a:pt x="1155" y="173"/>
                    </a:lnTo>
                    <a:lnTo>
                      <a:pt x="1139" y="150"/>
                    </a:lnTo>
                    <a:lnTo>
                      <a:pt x="1120" y="138"/>
                    </a:lnTo>
                    <a:lnTo>
                      <a:pt x="1091" y="124"/>
                    </a:lnTo>
                    <a:lnTo>
                      <a:pt x="1082" y="119"/>
                    </a:lnTo>
                    <a:lnTo>
                      <a:pt x="1080" y="114"/>
                    </a:lnTo>
                    <a:lnTo>
                      <a:pt x="1061" y="108"/>
                    </a:lnTo>
                    <a:lnTo>
                      <a:pt x="1052" y="111"/>
                    </a:lnTo>
                    <a:lnTo>
                      <a:pt x="1034" y="108"/>
                    </a:lnTo>
                    <a:lnTo>
                      <a:pt x="1028" y="111"/>
                    </a:lnTo>
                    <a:lnTo>
                      <a:pt x="1012" y="94"/>
                    </a:lnTo>
                    <a:lnTo>
                      <a:pt x="988" y="101"/>
                    </a:lnTo>
                    <a:lnTo>
                      <a:pt x="979" y="112"/>
                    </a:lnTo>
                    <a:lnTo>
                      <a:pt x="974" y="104"/>
                    </a:lnTo>
                    <a:lnTo>
                      <a:pt x="964" y="104"/>
                    </a:lnTo>
                    <a:lnTo>
                      <a:pt x="947" y="96"/>
                    </a:lnTo>
                    <a:lnTo>
                      <a:pt x="936" y="97"/>
                    </a:lnTo>
                    <a:lnTo>
                      <a:pt x="912" y="111"/>
                    </a:lnTo>
                    <a:lnTo>
                      <a:pt x="913" y="118"/>
                    </a:lnTo>
                    <a:lnTo>
                      <a:pt x="913" y="133"/>
                    </a:lnTo>
                    <a:lnTo>
                      <a:pt x="905" y="142"/>
                    </a:lnTo>
                    <a:lnTo>
                      <a:pt x="900" y="160"/>
                    </a:lnTo>
                    <a:lnTo>
                      <a:pt x="895" y="171"/>
                    </a:lnTo>
                    <a:lnTo>
                      <a:pt x="887" y="177"/>
                    </a:lnTo>
                    <a:lnTo>
                      <a:pt x="883" y="177"/>
                    </a:lnTo>
                    <a:lnTo>
                      <a:pt x="876" y="168"/>
                    </a:lnTo>
                    <a:lnTo>
                      <a:pt x="867" y="168"/>
                    </a:lnTo>
                    <a:lnTo>
                      <a:pt x="858" y="149"/>
                    </a:lnTo>
                    <a:lnTo>
                      <a:pt x="843" y="140"/>
                    </a:lnTo>
                    <a:lnTo>
                      <a:pt x="836" y="138"/>
                    </a:lnTo>
                    <a:lnTo>
                      <a:pt x="835" y="141"/>
                    </a:lnTo>
                    <a:lnTo>
                      <a:pt x="837" y="148"/>
                    </a:lnTo>
                    <a:lnTo>
                      <a:pt x="824" y="166"/>
                    </a:lnTo>
                    <a:lnTo>
                      <a:pt x="798" y="171"/>
                    </a:lnTo>
                    <a:lnTo>
                      <a:pt x="794" y="169"/>
                    </a:lnTo>
                    <a:lnTo>
                      <a:pt x="785" y="165"/>
                    </a:lnTo>
                    <a:lnTo>
                      <a:pt x="748" y="113"/>
                    </a:lnTo>
                    <a:lnTo>
                      <a:pt x="736" y="91"/>
                    </a:lnTo>
                    <a:lnTo>
                      <a:pt x="729" y="86"/>
                    </a:lnTo>
                    <a:lnTo>
                      <a:pt x="720" y="71"/>
                    </a:lnTo>
                    <a:lnTo>
                      <a:pt x="719" y="70"/>
                    </a:lnTo>
                    <a:lnTo>
                      <a:pt x="716" y="70"/>
                    </a:lnTo>
                    <a:lnTo>
                      <a:pt x="710" y="77"/>
                    </a:lnTo>
                    <a:lnTo>
                      <a:pt x="706" y="83"/>
                    </a:lnTo>
                    <a:lnTo>
                      <a:pt x="701" y="96"/>
                    </a:lnTo>
                    <a:lnTo>
                      <a:pt x="698" y="100"/>
                    </a:lnTo>
                    <a:lnTo>
                      <a:pt x="693" y="111"/>
                    </a:lnTo>
                    <a:lnTo>
                      <a:pt x="688" y="113"/>
                    </a:lnTo>
                    <a:lnTo>
                      <a:pt x="679" y="121"/>
                    </a:lnTo>
                    <a:lnTo>
                      <a:pt x="676" y="132"/>
                    </a:lnTo>
                    <a:lnTo>
                      <a:pt x="673" y="134"/>
                    </a:lnTo>
                    <a:lnTo>
                      <a:pt x="668" y="137"/>
                    </a:lnTo>
                    <a:lnTo>
                      <a:pt x="663" y="149"/>
                    </a:lnTo>
                    <a:lnTo>
                      <a:pt x="651" y="159"/>
                    </a:lnTo>
                    <a:lnTo>
                      <a:pt x="644" y="159"/>
                    </a:lnTo>
                    <a:lnTo>
                      <a:pt x="628" y="169"/>
                    </a:lnTo>
                    <a:lnTo>
                      <a:pt x="594" y="173"/>
                    </a:lnTo>
                    <a:lnTo>
                      <a:pt x="579" y="172"/>
                    </a:lnTo>
                    <a:lnTo>
                      <a:pt x="555" y="180"/>
                    </a:lnTo>
                    <a:lnTo>
                      <a:pt x="547" y="179"/>
                    </a:lnTo>
                    <a:lnTo>
                      <a:pt x="541" y="174"/>
                    </a:lnTo>
                    <a:lnTo>
                      <a:pt x="537" y="173"/>
                    </a:lnTo>
                    <a:lnTo>
                      <a:pt x="531" y="179"/>
                    </a:lnTo>
                    <a:lnTo>
                      <a:pt x="507" y="181"/>
                    </a:lnTo>
                    <a:lnTo>
                      <a:pt x="496" y="187"/>
                    </a:lnTo>
                    <a:lnTo>
                      <a:pt x="488" y="194"/>
                    </a:lnTo>
                    <a:lnTo>
                      <a:pt x="485" y="192"/>
                    </a:lnTo>
                    <a:lnTo>
                      <a:pt x="473" y="186"/>
                    </a:lnTo>
                    <a:lnTo>
                      <a:pt x="468" y="187"/>
                    </a:lnTo>
                    <a:lnTo>
                      <a:pt x="465" y="192"/>
                    </a:lnTo>
                    <a:lnTo>
                      <a:pt x="465" y="208"/>
                    </a:lnTo>
                    <a:lnTo>
                      <a:pt x="470" y="215"/>
                    </a:lnTo>
                    <a:lnTo>
                      <a:pt x="464" y="236"/>
                    </a:lnTo>
                    <a:lnTo>
                      <a:pt x="469" y="238"/>
                    </a:lnTo>
                    <a:lnTo>
                      <a:pt x="471" y="231"/>
                    </a:lnTo>
                    <a:lnTo>
                      <a:pt x="478" y="231"/>
                    </a:lnTo>
                    <a:lnTo>
                      <a:pt x="483" y="235"/>
                    </a:lnTo>
                    <a:lnTo>
                      <a:pt x="485" y="247"/>
                    </a:lnTo>
                    <a:lnTo>
                      <a:pt x="493" y="262"/>
                    </a:lnTo>
                    <a:lnTo>
                      <a:pt x="492" y="269"/>
                    </a:lnTo>
                    <a:lnTo>
                      <a:pt x="482" y="276"/>
                    </a:lnTo>
                    <a:lnTo>
                      <a:pt x="481" y="295"/>
                    </a:lnTo>
                    <a:lnTo>
                      <a:pt x="477" y="314"/>
                    </a:lnTo>
                    <a:lnTo>
                      <a:pt x="472" y="320"/>
                    </a:lnTo>
                    <a:lnTo>
                      <a:pt x="463" y="325"/>
                    </a:lnTo>
                    <a:lnTo>
                      <a:pt x="459" y="323"/>
                    </a:lnTo>
                    <a:lnTo>
                      <a:pt x="454" y="321"/>
                    </a:lnTo>
                    <a:lnTo>
                      <a:pt x="445" y="327"/>
                    </a:lnTo>
                    <a:lnTo>
                      <a:pt x="439" y="327"/>
                    </a:lnTo>
                    <a:lnTo>
                      <a:pt x="428" y="320"/>
                    </a:lnTo>
                    <a:lnTo>
                      <a:pt x="424" y="312"/>
                    </a:lnTo>
                    <a:lnTo>
                      <a:pt x="427" y="288"/>
                    </a:lnTo>
                    <a:lnTo>
                      <a:pt x="420" y="271"/>
                    </a:lnTo>
                    <a:lnTo>
                      <a:pt x="423" y="259"/>
                    </a:lnTo>
                    <a:lnTo>
                      <a:pt x="418" y="239"/>
                    </a:lnTo>
                    <a:lnTo>
                      <a:pt x="408" y="233"/>
                    </a:lnTo>
                    <a:lnTo>
                      <a:pt x="402" y="224"/>
                    </a:lnTo>
                    <a:lnTo>
                      <a:pt x="396" y="222"/>
                    </a:lnTo>
                    <a:lnTo>
                      <a:pt x="384" y="245"/>
                    </a:lnTo>
                    <a:lnTo>
                      <a:pt x="392" y="255"/>
                    </a:lnTo>
                    <a:lnTo>
                      <a:pt x="390" y="272"/>
                    </a:lnTo>
                    <a:lnTo>
                      <a:pt x="387" y="277"/>
                    </a:lnTo>
                    <a:lnTo>
                      <a:pt x="387" y="277"/>
                    </a:lnTo>
                    <a:lnTo>
                      <a:pt x="369" y="276"/>
                    </a:lnTo>
                    <a:lnTo>
                      <a:pt x="356" y="290"/>
                    </a:lnTo>
                    <a:lnTo>
                      <a:pt x="330" y="300"/>
                    </a:lnTo>
                    <a:lnTo>
                      <a:pt x="318" y="316"/>
                    </a:lnTo>
                    <a:lnTo>
                      <a:pt x="312" y="334"/>
                    </a:lnTo>
                    <a:lnTo>
                      <a:pt x="308" y="368"/>
                    </a:lnTo>
                    <a:lnTo>
                      <a:pt x="312" y="397"/>
                    </a:lnTo>
                    <a:lnTo>
                      <a:pt x="309" y="406"/>
                    </a:lnTo>
                    <a:lnTo>
                      <a:pt x="313" y="420"/>
                    </a:lnTo>
                    <a:lnTo>
                      <a:pt x="311" y="428"/>
                    </a:lnTo>
                    <a:lnTo>
                      <a:pt x="303" y="433"/>
                    </a:lnTo>
                    <a:lnTo>
                      <a:pt x="300" y="435"/>
                    </a:lnTo>
                    <a:lnTo>
                      <a:pt x="287" y="436"/>
                    </a:lnTo>
                    <a:lnTo>
                      <a:pt x="281" y="432"/>
                    </a:lnTo>
                    <a:lnTo>
                      <a:pt x="261" y="400"/>
                    </a:lnTo>
                    <a:lnTo>
                      <a:pt x="245" y="351"/>
                    </a:lnTo>
                    <a:lnTo>
                      <a:pt x="234" y="330"/>
                    </a:lnTo>
                    <a:lnTo>
                      <a:pt x="235" y="314"/>
                    </a:lnTo>
                    <a:lnTo>
                      <a:pt x="233" y="308"/>
                    </a:lnTo>
                    <a:lnTo>
                      <a:pt x="228" y="307"/>
                    </a:lnTo>
                    <a:lnTo>
                      <a:pt x="217" y="290"/>
                    </a:lnTo>
                    <a:lnTo>
                      <a:pt x="206" y="285"/>
                    </a:lnTo>
                    <a:lnTo>
                      <a:pt x="199" y="284"/>
                    </a:lnTo>
                    <a:lnTo>
                      <a:pt x="181" y="287"/>
                    </a:lnTo>
                    <a:lnTo>
                      <a:pt x="167" y="284"/>
                    </a:lnTo>
                    <a:lnTo>
                      <a:pt x="152" y="276"/>
                    </a:lnTo>
                    <a:lnTo>
                      <a:pt x="140" y="273"/>
                    </a:lnTo>
                    <a:lnTo>
                      <a:pt x="134" y="274"/>
                    </a:lnTo>
                    <a:lnTo>
                      <a:pt x="127" y="288"/>
                    </a:lnTo>
                    <a:lnTo>
                      <a:pt x="131" y="293"/>
                    </a:lnTo>
                    <a:lnTo>
                      <a:pt x="142" y="297"/>
                    </a:lnTo>
                    <a:lnTo>
                      <a:pt x="149" y="315"/>
                    </a:lnTo>
                    <a:lnTo>
                      <a:pt x="148" y="319"/>
                    </a:lnTo>
                    <a:lnTo>
                      <a:pt x="142" y="324"/>
                    </a:lnTo>
                    <a:close/>
                    <a:moveTo>
                      <a:pt x="25" y="578"/>
                    </a:moveTo>
                    <a:lnTo>
                      <a:pt x="26" y="572"/>
                    </a:lnTo>
                    <a:lnTo>
                      <a:pt x="23" y="567"/>
                    </a:lnTo>
                    <a:lnTo>
                      <a:pt x="7" y="560"/>
                    </a:lnTo>
                    <a:lnTo>
                      <a:pt x="0" y="562"/>
                    </a:lnTo>
                    <a:lnTo>
                      <a:pt x="0" y="565"/>
                    </a:lnTo>
                    <a:lnTo>
                      <a:pt x="4" y="569"/>
                    </a:lnTo>
                    <a:lnTo>
                      <a:pt x="19" y="574"/>
                    </a:lnTo>
                    <a:lnTo>
                      <a:pt x="25" y="578"/>
                    </a:lnTo>
                    <a:close/>
                    <a:moveTo>
                      <a:pt x="741" y="805"/>
                    </a:moveTo>
                    <a:lnTo>
                      <a:pt x="752" y="797"/>
                    </a:lnTo>
                    <a:lnTo>
                      <a:pt x="753" y="791"/>
                    </a:lnTo>
                    <a:lnTo>
                      <a:pt x="742" y="782"/>
                    </a:lnTo>
                    <a:lnTo>
                      <a:pt x="735" y="784"/>
                    </a:lnTo>
                    <a:lnTo>
                      <a:pt x="732" y="787"/>
                    </a:lnTo>
                    <a:lnTo>
                      <a:pt x="735" y="790"/>
                    </a:lnTo>
                    <a:lnTo>
                      <a:pt x="741" y="790"/>
                    </a:lnTo>
                    <a:lnTo>
                      <a:pt x="742" y="795"/>
                    </a:lnTo>
                    <a:lnTo>
                      <a:pt x="737" y="802"/>
                    </a:lnTo>
                    <a:lnTo>
                      <a:pt x="741" y="805"/>
                    </a:lnTo>
                    <a:close/>
                    <a:moveTo>
                      <a:pt x="1374" y="416"/>
                    </a:moveTo>
                    <a:lnTo>
                      <a:pt x="1367" y="407"/>
                    </a:lnTo>
                    <a:lnTo>
                      <a:pt x="1365" y="411"/>
                    </a:lnTo>
                    <a:lnTo>
                      <a:pt x="1368" y="420"/>
                    </a:lnTo>
                    <a:lnTo>
                      <a:pt x="1375" y="426"/>
                    </a:lnTo>
                    <a:lnTo>
                      <a:pt x="1382" y="424"/>
                    </a:lnTo>
                    <a:lnTo>
                      <a:pt x="1387" y="412"/>
                    </a:lnTo>
                    <a:lnTo>
                      <a:pt x="1378" y="412"/>
                    </a:lnTo>
                    <a:lnTo>
                      <a:pt x="1374" y="416"/>
                    </a:lnTo>
                    <a:close/>
                    <a:moveTo>
                      <a:pt x="633" y="885"/>
                    </a:moveTo>
                    <a:lnTo>
                      <a:pt x="631" y="895"/>
                    </a:lnTo>
                    <a:lnTo>
                      <a:pt x="634" y="898"/>
                    </a:lnTo>
                    <a:lnTo>
                      <a:pt x="640" y="882"/>
                    </a:lnTo>
                    <a:lnTo>
                      <a:pt x="642" y="877"/>
                    </a:lnTo>
                    <a:lnTo>
                      <a:pt x="639" y="873"/>
                    </a:lnTo>
                    <a:lnTo>
                      <a:pt x="633" y="885"/>
                    </a:lnTo>
                    <a:close/>
                    <a:moveTo>
                      <a:pt x="1315" y="1472"/>
                    </a:moveTo>
                    <a:lnTo>
                      <a:pt x="1320" y="1472"/>
                    </a:lnTo>
                    <a:lnTo>
                      <a:pt x="1326" y="1467"/>
                    </a:lnTo>
                    <a:lnTo>
                      <a:pt x="1330" y="1467"/>
                    </a:lnTo>
                    <a:lnTo>
                      <a:pt x="1342" y="1476"/>
                    </a:lnTo>
                    <a:lnTo>
                      <a:pt x="1344" y="1478"/>
                    </a:lnTo>
                    <a:lnTo>
                      <a:pt x="1353" y="1480"/>
                    </a:lnTo>
                    <a:lnTo>
                      <a:pt x="1361" y="1478"/>
                    </a:lnTo>
                    <a:lnTo>
                      <a:pt x="1364" y="1471"/>
                    </a:lnTo>
                    <a:lnTo>
                      <a:pt x="1359" y="1441"/>
                    </a:lnTo>
                    <a:lnTo>
                      <a:pt x="1351" y="1436"/>
                    </a:lnTo>
                    <a:lnTo>
                      <a:pt x="1349" y="1427"/>
                    </a:lnTo>
                    <a:lnTo>
                      <a:pt x="1328" y="1412"/>
                    </a:lnTo>
                    <a:lnTo>
                      <a:pt x="1320" y="1412"/>
                    </a:lnTo>
                    <a:lnTo>
                      <a:pt x="1313" y="1418"/>
                    </a:lnTo>
                    <a:lnTo>
                      <a:pt x="1313" y="1427"/>
                    </a:lnTo>
                    <a:lnTo>
                      <a:pt x="1311" y="1432"/>
                    </a:lnTo>
                    <a:lnTo>
                      <a:pt x="1302" y="1438"/>
                    </a:lnTo>
                    <a:lnTo>
                      <a:pt x="1310" y="1454"/>
                    </a:lnTo>
                    <a:lnTo>
                      <a:pt x="1317" y="1454"/>
                    </a:lnTo>
                    <a:lnTo>
                      <a:pt x="1310" y="1467"/>
                    </a:lnTo>
                    <a:lnTo>
                      <a:pt x="1315" y="1472"/>
                    </a:lnTo>
                    <a:close/>
                    <a:moveTo>
                      <a:pt x="663" y="915"/>
                    </a:moveTo>
                    <a:lnTo>
                      <a:pt x="670" y="904"/>
                    </a:lnTo>
                    <a:lnTo>
                      <a:pt x="679" y="897"/>
                    </a:lnTo>
                    <a:lnTo>
                      <a:pt x="694" y="872"/>
                    </a:lnTo>
                    <a:lnTo>
                      <a:pt x="685" y="866"/>
                    </a:lnTo>
                    <a:lnTo>
                      <a:pt x="679" y="842"/>
                    </a:lnTo>
                    <a:lnTo>
                      <a:pt x="674" y="839"/>
                    </a:lnTo>
                    <a:lnTo>
                      <a:pt x="678" y="836"/>
                    </a:lnTo>
                    <a:lnTo>
                      <a:pt x="678" y="831"/>
                    </a:lnTo>
                    <a:lnTo>
                      <a:pt x="673" y="827"/>
                    </a:lnTo>
                    <a:lnTo>
                      <a:pt x="655" y="829"/>
                    </a:lnTo>
                    <a:lnTo>
                      <a:pt x="655" y="838"/>
                    </a:lnTo>
                    <a:lnTo>
                      <a:pt x="658" y="849"/>
                    </a:lnTo>
                    <a:lnTo>
                      <a:pt x="656" y="861"/>
                    </a:lnTo>
                    <a:lnTo>
                      <a:pt x="653" y="867"/>
                    </a:lnTo>
                    <a:lnTo>
                      <a:pt x="644" y="885"/>
                    </a:lnTo>
                    <a:lnTo>
                      <a:pt x="651" y="886"/>
                    </a:lnTo>
                    <a:lnTo>
                      <a:pt x="655" y="898"/>
                    </a:lnTo>
                    <a:lnTo>
                      <a:pt x="661" y="901"/>
                    </a:lnTo>
                    <a:lnTo>
                      <a:pt x="661" y="910"/>
                    </a:lnTo>
                    <a:lnTo>
                      <a:pt x="663" y="915"/>
                    </a:lnTo>
                    <a:close/>
                    <a:moveTo>
                      <a:pt x="47" y="488"/>
                    </a:moveTo>
                    <a:lnTo>
                      <a:pt x="38" y="486"/>
                    </a:lnTo>
                    <a:lnTo>
                      <a:pt x="36" y="486"/>
                    </a:lnTo>
                    <a:lnTo>
                      <a:pt x="32" y="487"/>
                    </a:lnTo>
                    <a:lnTo>
                      <a:pt x="31" y="491"/>
                    </a:lnTo>
                    <a:lnTo>
                      <a:pt x="33" y="496"/>
                    </a:lnTo>
                    <a:lnTo>
                      <a:pt x="58" y="512"/>
                    </a:lnTo>
                    <a:lnTo>
                      <a:pt x="71" y="506"/>
                    </a:lnTo>
                    <a:lnTo>
                      <a:pt x="91" y="508"/>
                    </a:lnTo>
                    <a:lnTo>
                      <a:pt x="108" y="505"/>
                    </a:lnTo>
                    <a:lnTo>
                      <a:pt x="130" y="488"/>
                    </a:lnTo>
                    <a:lnTo>
                      <a:pt x="129" y="474"/>
                    </a:lnTo>
                    <a:lnTo>
                      <a:pt x="124" y="471"/>
                    </a:lnTo>
                    <a:lnTo>
                      <a:pt x="114" y="479"/>
                    </a:lnTo>
                    <a:lnTo>
                      <a:pt x="101" y="468"/>
                    </a:lnTo>
                    <a:lnTo>
                      <a:pt x="96" y="470"/>
                    </a:lnTo>
                    <a:lnTo>
                      <a:pt x="101" y="482"/>
                    </a:lnTo>
                    <a:lnTo>
                      <a:pt x="96" y="485"/>
                    </a:lnTo>
                    <a:lnTo>
                      <a:pt x="70" y="481"/>
                    </a:lnTo>
                    <a:lnTo>
                      <a:pt x="49" y="482"/>
                    </a:lnTo>
                    <a:lnTo>
                      <a:pt x="47" y="488"/>
                    </a:lnTo>
                    <a:close/>
                    <a:moveTo>
                      <a:pt x="1451" y="261"/>
                    </a:moveTo>
                    <a:lnTo>
                      <a:pt x="1443" y="278"/>
                    </a:lnTo>
                    <a:lnTo>
                      <a:pt x="1448" y="284"/>
                    </a:lnTo>
                    <a:lnTo>
                      <a:pt x="1458" y="287"/>
                    </a:lnTo>
                    <a:lnTo>
                      <a:pt x="1467" y="281"/>
                    </a:lnTo>
                    <a:lnTo>
                      <a:pt x="1476" y="282"/>
                    </a:lnTo>
                    <a:lnTo>
                      <a:pt x="1478" y="280"/>
                    </a:lnTo>
                    <a:lnTo>
                      <a:pt x="1462" y="256"/>
                    </a:lnTo>
                    <a:lnTo>
                      <a:pt x="1451" y="261"/>
                    </a:lnTo>
                    <a:close/>
                    <a:moveTo>
                      <a:pt x="1211" y="89"/>
                    </a:moveTo>
                    <a:lnTo>
                      <a:pt x="1197" y="100"/>
                    </a:lnTo>
                    <a:lnTo>
                      <a:pt x="1186" y="101"/>
                    </a:lnTo>
                    <a:lnTo>
                      <a:pt x="1187" y="107"/>
                    </a:lnTo>
                    <a:lnTo>
                      <a:pt x="1188" y="114"/>
                    </a:lnTo>
                    <a:lnTo>
                      <a:pt x="1184" y="134"/>
                    </a:lnTo>
                    <a:lnTo>
                      <a:pt x="1198" y="149"/>
                    </a:lnTo>
                    <a:lnTo>
                      <a:pt x="1210" y="167"/>
                    </a:lnTo>
                    <a:lnTo>
                      <a:pt x="1216" y="165"/>
                    </a:lnTo>
                    <a:lnTo>
                      <a:pt x="1233" y="176"/>
                    </a:lnTo>
                    <a:lnTo>
                      <a:pt x="1238" y="180"/>
                    </a:lnTo>
                    <a:lnTo>
                      <a:pt x="1243" y="180"/>
                    </a:lnTo>
                    <a:lnTo>
                      <a:pt x="1243" y="179"/>
                    </a:lnTo>
                    <a:lnTo>
                      <a:pt x="1250" y="175"/>
                    </a:lnTo>
                    <a:lnTo>
                      <a:pt x="1252" y="167"/>
                    </a:lnTo>
                    <a:lnTo>
                      <a:pt x="1260" y="171"/>
                    </a:lnTo>
                    <a:lnTo>
                      <a:pt x="1267" y="181"/>
                    </a:lnTo>
                    <a:lnTo>
                      <a:pt x="1268" y="181"/>
                    </a:lnTo>
                    <a:lnTo>
                      <a:pt x="1270" y="181"/>
                    </a:lnTo>
                    <a:lnTo>
                      <a:pt x="1275" y="183"/>
                    </a:lnTo>
                    <a:lnTo>
                      <a:pt x="1292" y="205"/>
                    </a:lnTo>
                    <a:lnTo>
                      <a:pt x="1278" y="203"/>
                    </a:lnTo>
                    <a:lnTo>
                      <a:pt x="1275" y="208"/>
                    </a:lnTo>
                    <a:lnTo>
                      <a:pt x="1295" y="220"/>
                    </a:lnTo>
                    <a:lnTo>
                      <a:pt x="1300" y="221"/>
                    </a:lnTo>
                    <a:lnTo>
                      <a:pt x="1306" y="216"/>
                    </a:lnTo>
                    <a:lnTo>
                      <a:pt x="1308" y="217"/>
                    </a:lnTo>
                    <a:lnTo>
                      <a:pt x="1312" y="226"/>
                    </a:lnTo>
                    <a:lnTo>
                      <a:pt x="1318" y="230"/>
                    </a:lnTo>
                    <a:lnTo>
                      <a:pt x="1315" y="238"/>
                    </a:lnTo>
                    <a:lnTo>
                      <a:pt x="1324" y="238"/>
                    </a:lnTo>
                    <a:lnTo>
                      <a:pt x="1324" y="251"/>
                    </a:lnTo>
                    <a:lnTo>
                      <a:pt x="1327" y="256"/>
                    </a:lnTo>
                    <a:lnTo>
                      <a:pt x="1342" y="257"/>
                    </a:lnTo>
                    <a:lnTo>
                      <a:pt x="1348" y="230"/>
                    </a:lnTo>
                    <a:lnTo>
                      <a:pt x="1352" y="225"/>
                    </a:lnTo>
                    <a:lnTo>
                      <a:pt x="1364" y="220"/>
                    </a:lnTo>
                    <a:lnTo>
                      <a:pt x="1374" y="220"/>
                    </a:lnTo>
                    <a:lnTo>
                      <a:pt x="1391" y="235"/>
                    </a:lnTo>
                    <a:lnTo>
                      <a:pt x="1394" y="232"/>
                    </a:lnTo>
                    <a:lnTo>
                      <a:pt x="1396" y="228"/>
                    </a:lnTo>
                    <a:lnTo>
                      <a:pt x="1398" y="226"/>
                    </a:lnTo>
                    <a:lnTo>
                      <a:pt x="1403" y="225"/>
                    </a:lnTo>
                    <a:lnTo>
                      <a:pt x="1402" y="236"/>
                    </a:lnTo>
                    <a:lnTo>
                      <a:pt x="1407" y="239"/>
                    </a:lnTo>
                    <a:lnTo>
                      <a:pt x="1415" y="222"/>
                    </a:lnTo>
                    <a:lnTo>
                      <a:pt x="1415" y="210"/>
                    </a:lnTo>
                    <a:lnTo>
                      <a:pt x="1418" y="208"/>
                    </a:lnTo>
                    <a:lnTo>
                      <a:pt x="1422" y="211"/>
                    </a:lnTo>
                    <a:lnTo>
                      <a:pt x="1423" y="217"/>
                    </a:lnTo>
                    <a:lnTo>
                      <a:pt x="1427" y="227"/>
                    </a:lnTo>
                    <a:lnTo>
                      <a:pt x="1424" y="236"/>
                    </a:lnTo>
                    <a:lnTo>
                      <a:pt x="1429" y="244"/>
                    </a:lnTo>
                    <a:lnTo>
                      <a:pt x="1450" y="245"/>
                    </a:lnTo>
                    <a:lnTo>
                      <a:pt x="1456" y="253"/>
                    </a:lnTo>
                    <a:lnTo>
                      <a:pt x="1477" y="239"/>
                    </a:lnTo>
                    <a:lnTo>
                      <a:pt x="1490" y="225"/>
                    </a:lnTo>
                    <a:lnTo>
                      <a:pt x="1492" y="217"/>
                    </a:lnTo>
                    <a:lnTo>
                      <a:pt x="1490" y="212"/>
                    </a:lnTo>
                    <a:lnTo>
                      <a:pt x="1490" y="212"/>
                    </a:lnTo>
                    <a:lnTo>
                      <a:pt x="1481" y="199"/>
                    </a:lnTo>
                    <a:lnTo>
                      <a:pt x="1480" y="195"/>
                    </a:lnTo>
                    <a:lnTo>
                      <a:pt x="1473" y="171"/>
                    </a:lnTo>
                    <a:lnTo>
                      <a:pt x="1463" y="158"/>
                    </a:lnTo>
                    <a:lnTo>
                      <a:pt x="1446" y="123"/>
                    </a:lnTo>
                    <a:lnTo>
                      <a:pt x="1440" y="107"/>
                    </a:lnTo>
                    <a:lnTo>
                      <a:pt x="1442" y="98"/>
                    </a:lnTo>
                    <a:lnTo>
                      <a:pt x="1456" y="86"/>
                    </a:lnTo>
                    <a:lnTo>
                      <a:pt x="1457" y="80"/>
                    </a:lnTo>
                    <a:lnTo>
                      <a:pt x="1443" y="56"/>
                    </a:lnTo>
                    <a:lnTo>
                      <a:pt x="1437" y="53"/>
                    </a:lnTo>
                    <a:lnTo>
                      <a:pt x="1417" y="53"/>
                    </a:lnTo>
                    <a:lnTo>
                      <a:pt x="1403" y="43"/>
                    </a:lnTo>
                    <a:lnTo>
                      <a:pt x="1394" y="41"/>
                    </a:lnTo>
                    <a:lnTo>
                      <a:pt x="1385" y="39"/>
                    </a:lnTo>
                    <a:lnTo>
                      <a:pt x="1377" y="33"/>
                    </a:lnTo>
                    <a:lnTo>
                      <a:pt x="1338" y="15"/>
                    </a:lnTo>
                    <a:lnTo>
                      <a:pt x="1333" y="11"/>
                    </a:lnTo>
                    <a:lnTo>
                      <a:pt x="1309" y="8"/>
                    </a:lnTo>
                    <a:lnTo>
                      <a:pt x="1304" y="0"/>
                    </a:lnTo>
                    <a:lnTo>
                      <a:pt x="1284" y="8"/>
                    </a:lnTo>
                    <a:lnTo>
                      <a:pt x="1274" y="9"/>
                    </a:lnTo>
                    <a:lnTo>
                      <a:pt x="1269" y="5"/>
                    </a:lnTo>
                    <a:lnTo>
                      <a:pt x="1260" y="5"/>
                    </a:lnTo>
                    <a:lnTo>
                      <a:pt x="1252" y="13"/>
                    </a:lnTo>
                    <a:lnTo>
                      <a:pt x="1245" y="31"/>
                    </a:lnTo>
                    <a:lnTo>
                      <a:pt x="1246" y="67"/>
                    </a:lnTo>
                    <a:lnTo>
                      <a:pt x="1246" y="71"/>
                    </a:lnTo>
                    <a:lnTo>
                      <a:pt x="1258" y="87"/>
                    </a:lnTo>
                    <a:lnTo>
                      <a:pt x="1255" y="94"/>
                    </a:lnTo>
                    <a:lnTo>
                      <a:pt x="1244" y="101"/>
                    </a:lnTo>
                    <a:lnTo>
                      <a:pt x="1240" y="101"/>
                    </a:lnTo>
                    <a:lnTo>
                      <a:pt x="1220" y="91"/>
                    </a:lnTo>
                    <a:lnTo>
                      <a:pt x="1211" y="89"/>
                    </a:lnTo>
                    <a:close/>
                    <a:moveTo>
                      <a:pt x="1147" y="92"/>
                    </a:moveTo>
                    <a:lnTo>
                      <a:pt x="1159" y="92"/>
                    </a:lnTo>
                    <a:lnTo>
                      <a:pt x="1149" y="61"/>
                    </a:lnTo>
                    <a:lnTo>
                      <a:pt x="1144" y="58"/>
                    </a:lnTo>
                    <a:lnTo>
                      <a:pt x="1140" y="61"/>
                    </a:lnTo>
                    <a:lnTo>
                      <a:pt x="1135" y="69"/>
                    </a:lnTo>
                    <a:lnTo>
                      <a:pt x="1131" y="81"/>
                    </a:lnTo>
                    <a:lnTo>
                      <a:pt x="1139" y="89"/>
                    </a:lnTo>
                    <a:lnTo>
                      <a:pt x="1147" y="92"/>
                    </a:lnTo>
                    <a:close/>
                    <a:moveTo>
                      <a:pt x="1350" y="259"/>
                    </a:moveTo>
                    <a:lnTo>
                      <a:pt x="1355" y="266"/>
                    </a:lnTo>
                    <a:lnTo>
                      <a:pt x="1373" y="247"/>
                    </a:lnTo>
                    <a:lnTo>
                      <a:pt x="1364" y="236"/>
                    </a:lnTo>
                    <a:lnTo>
                      <a:pt x="1352" y="244"/>
                    </a:lnTo>
                    <a:lnTo>
                      <a:pt x="1350" y="259"/>
                    </a:lnTo>
                    <a:close/>
                  </a:path>
                </a:pathLst>
              </a:custGeom>
              <a:solidFill>
                <a:srgbClr val="5D5D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3" name="Freeform 18">
                <a:extLst>
                  <a:ext uri="{FF2B5EF4-FFF2-40B4-BE49-F238E27FC236}">
                    <a16:creationId xmlns:a16="http://schemas.microsoft.com/office/drawing/2014/main" id="{6A115C2C-1CFD-41C2-A4FB-86284327E7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28951" y="2206626"/>
                <a:ext cx="1657351" cy="1046163"/>
              </a:xfrm>
              <a:custGeom>
                <a:avLst/>
                <a:gdLst>
                  <a:gd name="T0" fmla="*/ 360 w 1044"/>
                  <a:gd name="T1" fmla="*/ 220 h 659"/>
                  <a:gd name="T2" fmla="*/ 382 w 1044"/>
                  <a:gd name="T3" fmla="*/ 205 h 659"/>
                  <a:gd name="T4" fmla="*/ 379 w 1044"/>
                  <a:gd name="T5" fmla="*/ 167 h 659"/>
                  <a:gd name="T6" fmla="*/ 403 w 1044"/>
                  <a:gd name="T7" fmla="*/ 186 h 659"/>
                  <a:gd name="T8" fmla="*/ 409 w 1044"/>
                  <a:gd name="T9" fmla="*/ 161 h 659"/>
                  <a:gd name="T10" fmla="*/ 398 w 1044"/>
                  <a:gd name="T11" fmla="*/ 125 h 659"/>
                  <a:gd name="T12" fmla="*/ 428 w 1044"/>
                  <a:gd name="T13" fmla="*/ 110 h 659"/>
                  <a:gd name="T14" fmla="*/ 459 w 1044"/>
                  <a:gd name="T15" fmla="*/ 94 h 659"/>
                  <a:gd name="T16" fmla="*/ 490 w 1044"/>
                  <a:gd name="T17" fmla="*/ 37 h 659"/>
                  <a:gd name="T18" fmla="*/ 529 w 1044"/>
                  <a:gd name="T19" fmla="*/ 15 h 659"/>
                  <a:gd name="T20" fmla="*/ 592 w 1044"/>
                  <a:gd name="T21" fmla="*/ 43 h 659"/>
                  <a:gd name="T22" fmla="*/ 617 w 1044"/>
                  <a:gd name="T23" fmla="*/ 135 h 659"/>
                  <a:gd name="T24" fmla="*/ 680 w 1044"/>
                  <a:gd name="T25" fmla="*/ 138 h 659"/>
                  <a:gd name="T26" fmla="*/ 725 w 1044"/>
                  <a:gd name="T27" fmla="*/ 141 h 659"/>
                  <a:gd name="T28" fmla="*/ 764 w 1044"/>
                  <a:gd name="T29" fmla="*/ 178 h 659"/>
                  <a:gd name="T30" fmla="*/ 804 w 1044"/>
                  <a:gd name="T31" fmla="*/ 182 h 659"/>
                  <a:gd name="T32" fmla="*/ 814 w 1044"/>
                  <a:gd name="T33" fmla="*/ 202 h 659"/>
                  <a:gd name="T34" fmla="*/ 826 w 1044"/>
                  <a:gd name="T35" fmla="*/ 247 h 659"/>
                  <a:gd name="T36" fmla="*/ 881 w 1044"/>
                  <a:gd name="T37" fmla="*/ 297 h 659"/>
                  <a:gd name="T38" fmla="*/ 917 w 1044"/>
                  <a:gd name="T39" fmla="*/ 365 h 659"/>
                  <a:gd name="T40" fmla="*/ 907 w 1044"/>
                  <a:gd name="T41" fmla="*/ 440 h 659"/>
                  <a:gd name="T42" fmla="*/ 864 w 1044"/>
                  <a:gd name="T43" fmla="*/ 403 h 659"/>
                  <a:gd name="T44" fmla="*/ 833 w 1044"/>
                  <a:gd name="T45" fmla="*/ 431 h 659"/>
                  <a:gd name="T46" fmla="*/ 803 w 1044"/>
                  <a:gd name="T47" fmla="*/ 402 h 659"/>
                  <a:gd name="T48" fmla="*/ 800 w 1044"/>
                  <a:gd name="T49" fmla="*/ 436 h 659"/>
                  <a:gd name="T50" fmla="*/ 735 w 1044"/>
                  <a:gd name="T51" fmla="*/ 452 h 659"/>
                  <a:gd name="T52" fmla="*/ 770 w 1044"/>
                  <a:gd name="T53" fmla="*/ 441 h 659"/>
                  <a:gd name="T54" fmla="*/ 763 w 1044"/>
                  <a:gd name="T55" fmla="*/ 488 h 659"/>
                  <a:gd name="T56" fmla="*/ 722 w 1044"/>
                  <a:gd name="T57" fmla="*/ 501 h 659"/>
                  <a:gd name="T58" fmla="*/ 705 w 1044"/>
                  <a:gd name="T59" fmla="*/ 513 h 659"/>
                  <a:gd name="T60" fmla="*/ 658 w 1044"/>
                  <a:gd name="T61" fmla="*/ 486 h 659"/>
                  <a:gd name="T62" fmla="*/ 632 w 1044"/>
                  <a:gd name="T63" fmla="*/ 467 h 659"/>
                  <a:gd name="T64" fmla="*/ 609 w 1044"/>
                  <a:gd name="T65" fmla="*/ 515 h 659"/>
                  <a:gd name="T66" fmla="*/ 591 w 1044"/>
                  <a:gd name="T67" fmla="*/ 577 h 659"/>
                  <a:gd name="T68" fmla="*/ 505 w 1044"/>
                  <a:gd name="T69" fmla="*/ 652 h 659"/>
                  <a:gd name="T70" fmla="*/ 462 w 1044"/>
                  <a:gd name="T71" fmla="*/ 656 h 659"/>
                  <a:gd name="T72" fmla="*/ 388 w 1044"/>
                  <a:gd name="T73" fmla="*/ 608 h 659"/>
                  <a:gd name="T74" fmla="*/ 420 w 1044"/>
                  <a:gd name="T75" fmla="*/ 597 h 659"/>
                  <a:gd name="T76" fmla="*/ 395 w 1044"/>
                  <a:gd name="T77" fmla="*/ 556 h 659"/>
                  <a:gd name="T78" fmla="*/ 402 w 1044"/>
                  <a:gd name="T79" fmla="*/ 529 h 659"/>
                  <a:gd name="T80" fmla="*/ 370 w 1044"/>
                  <a:gd name="T81" fmla="*/ 490 h 659"/>
                  <a:gd name="T82" fmla="*/ 378 w 1044"/>
                  <a:gd name="T83" fmla="*/ 456 h 659"/>
                  <a:gd name="T84" fmla="*/ 366 w 1044"/>
                  <a:gd name="T85" fmla="*/ 398 h 659"/>
                  <a:gd name="T86" fmla="*/ 311 w 1044"/>
                  <a:gd name="T87" fmla="*/ 325 h 659"/>
                  <a:gd name="T88" fmla="*/ 249 w 1044"/>
                  <a:gd name="T89" fmla="*/ 338 h 659"/>
                  <a:gd name="T90" fmla="*/ 225 w 1044"/>
                  <a:gd name="T91" fmla="*/ 328 h 659"/>
                  <a:gd name="T92" fmla="*/ 188 w 1044"/>
                  <a:gd name="T93" fmla="*/ 342 h 659"/>
                  <a:gd name="T94" fmla="*/ 109 w 1044"/>
                  <a:gd name="T95" fmla="*/ 336 h 659"/>
                  <a:gd name="T96" fmla="*/ 84 w 1044"/>
                  <a:gd name="T97" fmla="*/ 322 h 659"/>
                  <a:gd name="T98" fmla="*/ 32 w 1044"/>
                  <a:gd name="T99" fmla="*/ 291 h 659"/>
                  <a:gd name="T100" fmla="*/ 7 w 1044"/>
                  <a:gd name="T101" fmla="*/ 245 h 659"/>
                  <a:gd name="T102" fmla="*/ 80 w 1044"/>
                  <a:gd name="T103" fmla="*/ 249 h 659"/>
                  <a:gd name="T104" fmla="*/ 201 w 1044"/>
                  <a:gd name="T105" fmla="*/ 242 h 659"/>
                  <a:gd name="T106" fmla="*/ 284 w 1044"/>
                  <a:gd name="T107" fmla="*/ 255 h 659"/>
                  <a:gd name="T108" fmla="*/ 904 w 1044"/>
                  <a:gd name="T109" fmla="*/ 313 h 659"/>
                  <a:gd name="T110" fmla="*/ 884 w 1044"/>
                  <a:gd name="T111" fmla="*/ 261 h 659"/>
                  <a:gd name="T112" fmla="*/ 926 w 1044"/>
                  <a:gd name="T113" fmla="*/ 507 h 659"/>
                  <a:gd name="T114" fmla="*/ 1033 w 1044"/>
                  <a:gd name="T115" fmla="*/ 543 h 659"/>
                  <a:gd name="T116" fmla="*/ 1044 w 1044"/>
                  <a:gd name="T117" fmla="*/ 550 h 659"/>
                  <a:gd name="T118" fmla="*/ 997 w 1044"/>
                  <a:gd name="T119" fmla="*/ 432 h 659"/>
                  <a:gd name="T120" fmla="*/ 869 w 1044"/>
                  <a:gd name="T121" fmla="*/ 446 h 659"/>
                  <a:gd name="T122" fmla="*/ 872 w 1044"/>
                  <a:gd name="T123" fmla="*/ 456 h 659"/>
                  <a:gd name="T124" fmla="*/ 940 w 1044"/>
                  <a:gd name="T125" fmla="*/ 455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44" h="659">
                    <a:moveTo>
                      <a:pt x="340" y="238"/>
                    </a:moveTo>
                    <a:lnTo>
                      <a:pt x="346" y="221"/>
                    </a:lnTo>
                    <a:lnTo>
                      <a:pt x="340" y="211"/>
                    </a:lnTo>
                    <a:lnTo>
                      <a:pt x="340" y="207"/>
                    </a:lnTo>
                    <a:lnTo>
                      <a:pt x="347" y="205"/>
                    </a:lnTo>
                    <a:lnTo>
                      <a:pt x="360" y="220"/>
                    </a:lnTo>
                    <a:lnTo>
                      <a:pt x="368" y="219"/>
                    </a:lnTo>
                    <a:lnTo>
                      <a:pt x="375" y="209"/>
                    </a:lnTo>
                    <a:lnTo>
                      <a:pt x="385" y="217"/>
                    </a:lnTo>
                    <a:lnTo>
                      <a:pt x="390" y="213"/>
                    </a:lnTo>
                    <a:lnTo>
                      <a:pt x="387" y="207"/>
                    </a:lnTo>
                    <a:lnTo>
                      <a:pt x="382" y="205"/>
                    </a:lnTo>
                    <a:lnTo>
                      <a:pt x="373" y="196"/>
                    </a:lnTo>
                    <a:lnTo>
                      <a:pt x="364" y="174"/>
                    </a:lnTo>
                    <a:lnTo>
                      <a:pt x="365" y="168"/>
                    </a:lnTo>
                    <a:lnTo>
                      <a:pt x="365" y="166"/>
                    </a:lnTo>
                    <a:lnTo>
                      <a:pt x="370" y="163"/>
                    </a:lnTo>
                    <a:lnTo>
                      <a:pt x="379" y="167"/>
                    </a:lnTo>
                    <a:lnTo>
                      <a:pt x="387" y="165"/>
                    </a:lnTo>
                    <a:lnTo>
                      <a:pt x="391" y="167"/>
                    </a:lnTo>
                    <a:lnTo>
                      <a:pt x="392" y="173"/>
                    </a:lnTo>
                    <a:lnTo>
                      <a:pt x="401" y="179"/>
                    </a:lnTo>
                    <a:lnTo>
                      <a:pt x="398" y="184"/>
                    </a:lnTo>
                    <a:lnTo>
                      <a:pt x="403" y="186"/>
                    </a:lnTo>
                    <a:lnTo>
                      <a:pt x="409" y="182"/>
                    </a:lnTo>
                    <a:lnTo>
                      <a:pt x="409" y="178"/>
                    </a:lnTo>
                    <a:lnTo>
                      <a:pt x="403" y="173"/>
                    </a:lnTo>
                    <a:lnTo>
                      <a:pt x="405" y="168"/>
                    </a:lnTo>
                    <a:lnTo>
                      <a:pt x="403" y="164"/>
                    </a:lnTo>
                    <a:lnTo>
                      <a:pt x="409" y="161"/>
                    </a:lnTo>
                    <a:lnTo>
                      <a:pt x="411" y="155"/>
                    </a:lnTo>
                    <a:lnTo>
                      <a:pt x="407" y="152"/>
                    </a:lnTo>
                    <a:lnTo>
                      <a:pt x="407" y="146"/>
                    </a:lnTo>
                    <a:lnTo>
                      <a:pt x="402" y="143"/>
                    </a:lnTo>
                    <a:lnTo>
                      <a:pt x="403" y="135"/>
                    </a:lnTo>
                    <a:lnTo>
                      <a:pt x="398" y="125"/>
                    </a:lnTo>
                    <a:lnTo>
                      <a:pt x="397" y="107"/>
                    </a:lnTo>
                    <a:lnTo>
                      <a:pt x="402" y="104"/>
                    </a:lnTo>
                    <a:lnTo>
                      <a:pt x="408" y="110"/>
                    </a:lnTo>
                    <a:lnTo>
                      <a:pt x="418" y="107"/>
                    </a:lnTo>
                    <a:lnTo>
                      <a:pt x="422" y="110"/>
                    </a:lnTo>
                    <a:lnTo>
                      <a:pt x="428" y="110"/>
                    </a:lnTo>
                    <a:lnTo>
                      <a:pt x="435" y="117"/>
                    </a:lnTo>
                    <a:lnTo>
                      <a:pt x="446" y="112"/>
                    </a:lnTo>
                    <a:lnTo>
                      <a:pt x="450" y="109"/>
                    </a:lnTo>
                    <a:lnTo>
                      <a:pt x="451" y="103"/>
                    </a:lnTo>
                    <a:lnTo>
                      <a:pt x="456" y="102"/>
                    </a:lnTo>
                    <a:lnTo>
                      <a:pt x="459" y="94"/>
                    </a:lnTo>
                    <a:lnTo>
                      <a:pt x="465" y="102"/>
                    </a:lnTo>
                    <a:lnTo>
                      <a:pt x="471" y="101"/>
                    </a:lnTo>
                    <a:lnTo>
                      <a:pt x="476" y="105"/>
                    </a:lnTo>
                    <a:lnTo>
                      <a:pt x="487" y="97"/>
                    </a:lnTo>
                    <a:lnTo>
                      <a:pt x="491" y="87"/>
                    </a:lnTo>
                    <a:lnTo>
                      <a:pt x="490" y="37"/>
                    </a:lnTo>
                    <a:lnTo>
                      <a:pt x="494" y="1"/>
                    </a:lnTo>
                    <a:lnTo>
                      <a:pt x="494" y="1"/>
                    </a:lnTo>
                    <a:lnTo>
                      <a:pt x="498" y="0"/>
                    </a:lnTo>
                    <a:lnTo>
                      <a:pt x="500" y="2"/>
                    </a:lnTo>
                    <a:lnTo>
                      <a:pt x="508" y="9"/>
                    </a:lnTo>
                    <a:lnTo>
                      <a:pt x="529" y="15"/>
                    </a:lnTo>
                    <a:lnTo>
                      <a:pt x="542" y="14"/>
                    </a:lnTo>
                    <a:lnTo>
                      <a:pt x="543" y="13"/>
                    </a:lnTo>
                    <a:lnTo>
                      <a:pt x="553" y="9"/>
                    </a:lnTo>
                    <a:lnTo>
                      <a:pt x="562" y="9"/>
                    </a:lnTo>
                    <a:lnTo>
                      <a:pt x="597" y="32"/>
                    </a:lnTo>
                    <a:lnTo>
                      <a:pt x="592" y="43"/>
                    </a:lnTo>
                    <a:lnTo>
                      <a:pt x="589" y="77"/>
                    </a:lnTo>
                    <a:lnTo>
                      <a:pt x="593" y="85"/>
                    </a:lnTo>
                    <a:lnTo>
                      <a:pt x="589" y="99"/>
                    </a:lnTo>
                    <a:lnTo>
                      <a:pt x="602" y="126"/>
                    </a:lnTo>
                    <a:lnTo>
                      <a:pt x="611" y="134"/>
                    </a:lnTo>
                    <a:lnTo>
                      <a:pt x="617" y="135"/>
                    </a:lnTo>
                    <a:lnTo>
                      <a:pt x="626" y="142"/>
                    </a:lnTo>
                    <a:lnTo>
                      <a:pt x="646" y="134"/>
                    </a:lnTo>
                    <a:lnTo>
                      <a:pt x="647" y="133"/>
                    </a:lnTo>
                    <a:lnTo>
                      <a:pt x="659" y="144"/>
                    </a:lnTo>
                    <a:lnTo>
                      <a:pt x="668" y="143"/>
                    </a:lnTo>
                    <a:lnTo>
                      <a:pt x="680" y="138"/>
                    </a:lnTo>
                    <a:lnTo>
                      <a:pt x="693" y="139"/>
                    </a:lnTo>
                    <a:lnTo>
                      <a:pt x="704" y="144"/>
                    </a:lnTo>
                    <a:lnTo>
                      <a:pt x="714" y="155"/>
                    </a:lnTo>
                    <a:lnTo>
                      <a:pt x="722" y="155"/>
                    </a:lnTo>
                    <a:lnTo>
                      <a:pt x="720" y="145"/>
                    </a:lnTo>
                    <a:lnTo>
                      <a:pt x="725" y="141"/>
                    </a:lnTo>
                    <a:lnTo>
                      <a:pt x="731" y="147"/>
                    </a:lnTo>
                    <a:lnTo>
                      <a:pt x="744" y="145"/>
                    </a:lnTo>
                    <a:lnTo>
                      <a:pt x="748" y="155"/>
                    </a:lnTo>
                    <a:lnTo>
                      <a:pt x="757" y="162"/>
                    </a:lnTo>
                    <a:lnTo>
                      <a:pt x="758" y="174"/>
                    </a:lnTo>
                    <a:lnTo>
                      <a:pt x="764" y="178"/>
                    </a:lnTo>
                    <a:lnTo>
                      <a:pt x="767" y="186"/>
                    </a:lnTo>
                    <a:lnTo>
                      <a:pt x="771" y="187"/>
                    </a:lnTo>
                    <a:lnTo>
                      <a:pt x="777" y="181"/>
                    </a:lnTo>
                    <a:lnTo>
                      <a:pt x="800" y="188"/>
                    </a:lnTo>
                    <a:lnTo>
                      <a:pt x="802" y="185"/>
                    </a:lnTo>
                    <a:lnTo>
                      <a:pt x="804" y="182"/>
                    </a:lnTo>
                    <a:lnTo>
                      <a:pt x="810" y="182"/>
                    </a:lnTo>
                    <a:lnTo>
                      <a:pt x="814" y="176"/>
                    </a:lnTo>
                    <a:lnTo>
                      <a:pt x="821" y="176"/>
                    </a:lnTo>
                    <a:lnTo>
                      <a:pt x="815" y="185"/>
                    </a:lnTo>
                    <a:lnTo>
                      <a:pt x="813" y="194"/>
                    </a:lnTo>
                    <a:lnTo>
                      <a:pt x="814" y="202"/>
                    </a:lnTo>
                    <a:lnTo>
                      <a:pt x="834" y="217"/>
                    </a:lnTo>
                    <a:lnTo>
                      <a:pt x="833" y="219"/>
                    </a:lnTo>
                    <a:lnTo>
                      <a:pt x="819" y="221"/>
                    </a:lnTo>
                    <a:lnTo>
                      <a:pt x="817" y="224"/>
                    </a:lnTo>
                    <a:lnTo>
                      <a:pt x="817" y="231"/>
                    </a:lnTo>
                    <a:lnTo>
                      <a:pt x="826" y="247"/>
                    </a:lnTo>
                    <a:lnTo>
                      <a:pt x="832" y="250"/>
                    </a:lnTo>
                    <a:lnTo>
                      <a:pt x="844" y="266"/>
                    </a:lnTo>
                    <a:lnTo>
                      <a:pt x="849" y="279"/>
                    </a:lnTo>
                    <a:lnTo>
                      <a:pt x="860" y="287"/>
                    </a:lnTo>
                    <a:lnTo>
                      <a:pt x="866" y="286"/>
                    </a:lnTo>
                    <a:lnTo>
                      <a:pt x="881" y="297"/>
                    </a:lnTo>
                    <a:lnTo>
                      <a:pt x="889" y="306"/>
                    </a:lnTo>
                    <a:lnTo>
                      <a:pt x="898" y="317"/>
                    </a:lnTo>
                    <a:lnTo>
                      <a:pt x="899" y="327"/>
                    </a:lnTo>
                    <a:lnTo>
                      <a:pt x="897" y="343"/>
                    </a:lnTo>
                    <a:lnTo>
                      <a:pt x="902" y="350"/>
                    </a:lnTo>
                    <a:lnTo>
                      <a:pt x="917" y="365"/>
                    </a:lnTo>
                    <a:lnTo>
                      <a:pt x="918" y="377"/>
                    </a:lnTo>
                    <a:lnTo>
                      <a:pt x="937" y="403"/>
                    </a:lnTo>
                    <a:lnTo>
                      <a:pt x="937" y="412"/>
                    </a:lnTo>
                    <a:lnTo>
                      <a:pt x="927" y="422"/>
                    </a:lnTo>
                    <a:lnTo>
                      <a:pt x="916" y="427"/>
                    </a:lnTo>
                    <a:lnTo>
                      <a:pt x="907" y="440"/>
                    </a:lnTo>
                    <a:lnTo>
                      <a:pt x="902" y="438"/>
                    </a:lnTo>
                    <a:lnTo>
                      <a:pt x="901" y="407"/>
                    </a:lnTo>
                    <a:lnTo>
                      <a:pt x="898" y="400"/>
                    </a:lnTo>
                    <a:lnTo>
                      <a:pt x="890" y="399"/>
                    </a:lnTo>
                    <a:lnTo>
                      <a:pt x="880" y="407"/>
                    </a:lnTo>
                    <a:lnTo>
                      <a:pt x="864" y="403"/>
                    </a:lnTo>
                    <a:lnTo>
                      <a:pt x="845" y="392"/>
                    </a:lnTo>
                    <a:lnTo>
                      <a:pt x="834" y="393"/>
                    </a:lnTo>
                    <a:lnTo>
                      <a:pt x="829" y="403"/>
                    </a:lnTo>
                    <a:lnTo>
                      <a:pt x="837" y="419"/>
                    </a:lnTo>
                    <a:lnTo>
                      <a:pt x="838" y="429"/>
                    </a:lnTo>
                    <a:lnTo>
                      <a:pt x="833" y="431"/>
                    </a:lnTo>
                    <a:lnTo>
                      <a:pt x="825" y="430"/>
                    </a:lnTo>
                    <a:lnTo>
                      <a:pt x="816" y="421"/>
                    </a:lnTo>
                    <a:lnTo>
                      <a:pt x="810" y="405"/>
                    </a:lnTo>
                    <a:lnTo>
                      <a:pt x="811" y="400"/>
                    </a:lnTo>
                    <a:lnTo>
                      <a:pt x="806" y="393"/>
                    </a:lnTo>
                    <a:lnTo>
                      <a:pt x="803" y="402"/>
                    </a:lnTo>
                    <a:lnTo>
                      <a:pt x="798" y="408"/>
                    </a:lnTo>
                    <a:lnTo>
                      <a:pt x="804" y="415"/>
                    </a:lnTo>
                    <a:lnTo>
                      <a:pt x="804" y="424"/>
                    </a:lnTo>
                    <a:lnTo>
                      <a:pt x="800" y="429"/>
                    </a:lnTo>
                    <a:lnTo>
                      <a:pt x="800" y="434"/>
                    </a:lnTo>
                    <a:lnTo>
                      <a:pt x="800" y="436"/>
                    </a:lnTo>
                    <a:lnTo>
                      <a:pt x="794" y="437"/>
                    </a:lnTo>
                    <a:lnTo>
                      <a:pt x="749" y="412"/>
                    </a:lnTo>
                    <a:lnTo>
                      <a:pt x="747" y="426"/>
                    </a:lnTo>
                    <a:lnTo>
                      <a:pt x="724" y="430"/>
                    </a:lnTo>
                    <a:lnTo>
                      <a:pt x="722" y="438"/>
                    </a:lnTo>
                    <a:lnTo>
                      <a:pt x="735" y="452"/>
                    </a:lnTo>
                    <a:lnTo>
                      <a:pt x="741" y="450"/>
                    </a:lnTo>
                    <a:lnTo>
                      <a:pt x="736" y="443"/>
                    </a:lnTo>
                    <a:lnTo>
                      <a:pt x="740" y="439"/>
                    </a:lnTo>
                    <a:lnTo>
                      <a:pt x="750" y="430"/>
                    </a:lnTo>
                    <a:lnTo>
                      <a:pt x="764" y="436"/>
                    </a:lnTo>
                    <a:lnTo>
                      <a:pt x="770" y="441"/>
                    </a:lnTo>
                    <a:lnTo>
                      <a:pt x="768" y="445"/>
                    </a:lnTo>
                    <a:lnTo>
                      <a:pt x="760" y="451"/>
                    </a:lnTo>
                    <a:lnTo>
                      <a:pt x="755" y="460"/>
                    </a:lnTo>
                    <a:lnTo>
                      <a:pt x="755" y="467"/>
                    </a:lnTo>
                    <a:lnTo>
                      <a:pt x="764" y="484"/>
                    </a:lnTo>
                    <a:lnTo>
                      <a:pt x="763" y="488"/>
                    </a:lnTo>
                    <a:lnTo>
                      <a:pt x="738" y="489"/>
                    </a:lnTo>
                    <a:lnTo>
                      <a:pt x="735" y="497"/>
                    </a:lnTo>
                    <a:lnTo>
                      <a:pt x="735" y="500"/>
                    </a:lnTo>
                    <a:lnTo>
                      <a:pt x="736" y="504"/>
                    </a:lnTo>
                    <a:lnTo>
                      <a:pt x="728" y="500"/>
                    </a:lnTo>
                    <a:lnTo>
                      <a:pt x="722" y="501"/>
                    </a:lnTo>
                    <a:lnTo>
                      <a:pt x="708" y="529"/>
                    </a:lnTo>
                    <a:lnTo>
                      <a:pt x="686" y="549"/>
                    </a:lnTo>
                    <a:lnTo>
                      <a:pt x="679" y="548"/>
                    </a:lnTo>
                    <a:lnTo>
                      <a:pt x="688" y="537"/>
                    </a:lnTo>
                    <a:lnTo>
                      <a:pt x="695" y="530"/>
                    </a:lnTo>
                    <a:lnTo>
                      <a:pt x="705" y="513"/>
                    </a:lnTo>
                    <a:lnTo>
                      <a:pt x="702" y="510"/>
                    </a:lnTo>
                    <a:lnTo>
                      <a:pt x="692" y="516"/>
                    </a:lnTo>
                    <a:lnTo>
                      <a:pt x="678" y="515"/>
                    </a:lnTo>
                    <a:lnTo>
                      <a:pt x="671" y="508"/>
                    </a:lnTo>
                    <a:lnTo>
                      <a:pt x="659" y="487"/>
                    </a:lnTo>
                    <a:lnTo>
                      <a:pt x="658" y="486"/>
                    </a:lnTo>
                    <a:lnTo>
                      <a:pt x="652" y="490"/>
                    </a:lnTo>
                    <a:lnTo>
                      <a:pt x="648" y="484"/>
                    </a:lnTo>
                    <a:lnTo>
                      <a:pt x="641" y="475"/>
                    </a:lnTo>
                    <a:lnTo>
                      <a:pt x="637" y="467"/>
                    </a:lnTo>
                    <a:lnTo>
                      <a:pt x="632" y="466"/>
                    </a:lnTo>
                    <a:lnTo>
                      <a:pt x="632" y="467"/>
                    </a:lnTo>
                    <a:lnTo>
                      <a:pt x="632" y="476"/>
                    </a:lnTo>
                    <a:lnTo>
                      <a:pt x="629" y="477"/>
                    </a:lnTo>
                    <a:lnTo>
                      <a:pt x="621" y="484"/>
                    </a:lnTo>
                    <a:lnTo>
                      <a:pt x="621" y="497"/>
                    </a:lnTo>
                    <a:lnTo>
                      <a:pt x="613" y="501"/>
                    </a:lnTo>
                    <a:lnTo>
                      <a:pt x="609" y="515"/>
                    </a:lnTo>
                    <a:lnTo>
                      <a:pt x="614" y="514"/>
                    </a:lnTo>
                    <a:lnTo>
                      <a:pt x="623" y="516"/>
                    </a:lnTo>
                    <a:lnTo>
                      <a:pt x="626" y="520"/>
                    </a:lnTo>
                    <a:lnTo>
                      <a:pt x="613" y="535"/>
                    </a:lnTo>
                    <a:lnTo>
                      <a:pt x="611" y="538"/>
                    </a:lnTo>
                    <a:lnTo>
                      <a:pt x="591" y="577"/>
                    </a:lnTo>
                    <a:lnTo>
                      <a:pt x="567" y="636"/>
                    </a:lnTo>
                    <a:lnTo>
                      <a:pt x="546" y="643"/>
                    </a:lnTo>
                    <a:lnTo>
                      <a:pt x="532" y="644"/>
                    </a:lnTo>
                    <a:lnTo>
                      <a:pt x="523" y="652"/>
                    </a:lnTo>
                    <a:lnTo>
                      <a:pt x="519" y="650"/>
                    </a:lnTo>
                    <a:lnTo>
                      <a:pt x="505" y="652"/>
                    </a:lnTo>
                    <a:lnTo>
                      <a:pt x="492" y="657"/>
                    </a:lnTo>
                    <a:lnTo>
                      <a:pt x="478" y="659"/>
                    </a:lnTo>
                    <a:lnTo>
                      <a:pt x="473" y="659"/>
                    </a:lnTo>
                    <a:lnTo>
                      <a:pt x="468" y="658"/>
                    </a:lnTo>
                    <a:lnTo>
                      <a:pt x="466" y="657"/>
                    </a:lnTo>
                    <a:lnTo>
                      <a:pt x="462" y="656"/>
                    </a:lnTo>
                    <a:lnTo>
                      <a:pt x="448" y="652"/>
                    </a:lnTo>
                    <a:lnTo>
                      <a:pt x="403" y="630"/>
                    </a:lnTo>
                    <a:lnTo>
                      <a:pt x="400" y="622"/>
                    </a:lnTo>
                    <a:lnTo>
                      <a:pt x="383" y="617"/>
                    </a:lnTo>
                    <a:lnTo>
                      <a:pt x="390" y="613"/>
                    </a:lnTo>
                    <a:lnTo>
                      <a:pt x="388" y="608"/>
                    </a:lnTo>
                    <a:lnTo>
                      <a:pt x="374" y="603"/>
                    </a:lnTo>
                    <a:lnTo>
                      <a:pt x="379" y="595"/>
                    </a:lnTo>
                    <a:lnTo>
                      <a:pt x="389" y="604"/>
                    </a:lnTo>
                    <a:lnTo>
                      <a:pt x="400" y="602"/>
                    </a:lnTo>
                    <a:lnTo>
                      <a:pt x="406" y="598"/>
                    </a:lnTo>
                    <a:lnTo>
                      <a:pt x="420" y="597"/>
                    </a:lnTo>
                    <a:lnTo>
                      <a:pt x="422" y="592"/>
                    </a:lnTo>
                    <a:lnTo>
                      <a:pt x="419" y="586"/>
                    </a:lnTo>
                    <a:lnTo>
                      <a:pt x="418" y="579"/>
                    </a:lnTo>
                    <a:lnTo>
                      <a:pt x="404" y="571"/>
                    </a:lnTo>
                    <a:lnTo>
                      <a:pt x="404" y="563"/>
                    </a:lnTo>
                    <a:lnTo>
                      <a:pt x="395" y="556"/>
                    </a:lnTo>
                    <a:lnTo>
                      <a:pt x="387" y="554"/>
                    </a:lnTo>
                    <a:lnTo>
                      <a:pt x="386" y="548"/>
                    </a:lnTo>
                    <a:lnTo>
                      <a:pt x="392" y="547"/>
                    </a:lnTo>
                    <a:lnTo>
                      <a:pt x="394" y="542"/>
                    </a:lnTo>
                    <a:lnTo>
                      <a:pt x="401" y="538"/>
                    </a:lnTo>
                    <a:lnTo>
                      <a:pt x="402" y="529"/>
                    </a:lnTo>
                    <a:lnTo>
                      <a:pt x="394" y="514"/>
                    </a:lnTo>
                    <a:lnTo>
                      <a:pt x="389" y="509"/>
                    </a:lnTo>
                    <a:lnTo>
                      <a:pt x="379" y="509"/>
                    </a:lnTo>
                    <a:lnTo>
                      <a:pt x="378" y="504"/>
                    </a:lnTo>
                    <a:lnTo>
                      <a:pt x="370" y="496"/>
                    </a:lnTo>
                    <a:lnTo>
                      <a:pt x="370" y="490"/>
                    </a:lnTo>
                    <a:lnTo>
                      <a:pt x="378" y="481"/>
                    </a:lnTo>
                    <a:lnTo>
                      <a:pt x="377" y="474"/>
                    </a:lnTo>
                    <a:lnTo>
                      <a:pt x="359" y="464"/>
                    </a:lnTo>
                    <a:lnTo>
                      <a:pt x="359" y="460"/>
                    </a:lnTo>
                    <a:lnTo>
                      <a:pt x="377" y="460"/>
                    </a:lnTo>
                    <a:lnTo>
                      <a:pt x="378" y="456"/>
                    </a:lnTo>
                    <a:lnTo>
                      <a:pt x="372" y="455"/>
                    </a:lnTo>
                    <a:lnTo>
                      <a:pt x="377" y="440"/>
                    </a:lnTo>
                    <a:lnTo>
                      <a:pt x="377" y="436"/>
                    </a:lnTo>
                    <a:lnTo>
                      <a:pt x="377" y="425"/>
                    </a:lnTo>
                    <a:lnTo>
                      <a:pt x="373" y="410"/>
                    </a:lnTo>
                    <a:lnTo>
                      <a:pt x="366" y="398"/>
                    </a:lnTo>
                    <a:lnTo>
                      <a:pt x="360" y="383"/>
                    </a:lnTo>
                    <a:lnTo>
                      <a:pt x="351" y="377"/>
                    </a:lnTo>
                    <a:lnTo>
                      <a:pt x="352" y="365"/>
                    </a:lnTo>
                    <a:lnTo>
                      <a:pt x="341" y="359"/>
                    </a:lnTo>
                    <a:lnTo>
                      <a:pt x="329" y="342"/>
                    </a:lnTo>
                    <a:lnTo>
                      <a:pt x="311" y="325"/>
                    </a:lnTo>
                    <a:lnTo>
                      <a:pt x="297" y="318"/>
                    </a:lnTo>
                    <a:lnTo>
                      <a:pt x="292" y="319"/>
                    </a:lnTo>
                    <a:lnTo>
                      <a:pt x="283" y="324"/>
                    </a:lnTo>
                    <a:lnTo>
                      <a:pt x="261" y="326"/>
                    </a:lnTo>
                    <a:lnTo>
                      <a:pt x="253" y="340"/>
                    </a:lnTo>
                    <a:lnTo>
                      <a:pt x="249" y="338"/>
                    </a:lnTo>
                    <a:lnTo>
                      <a:pt x="248" y="338"/>
                    </a:lnTo>
                    <a:lnTo>
                      <a:pt x="245" y="342"/>
                    </a:lnTo>
                    <a:lnTo>
                      <a:pt x="240" y="344"/>
                    </a:lnTo>
                    <a:lnTo>
                      <a:pt x="238" y="334"/>
                    </a:lnTo>
                    <a:lnTo>
                      <a:pt x="232" y="334"/>
                    </a:lnTo>
                    <a:lnTo>
                      <a:pt x="225" y="328"/>
                    </a:lnTo>
                    <a:lnTo>
                      <a:pt x="216" y="327"/>
                    </a:lnTo>
                    <a:lnTo>
                      <a:pt x="213" y="332"/>
                    </a:lnTo>
                    <a:lnTo>
                      <a:pt x="207" y="332"/>
                    </a:lnTo>
                    <a:lnTo>
                      <a:pt x="203" y="344"/>
                    </a:lnTo>
                    <a:lnTo>
                      <a:pt x="199" y="346"/>
                    </a:lnTo>
                    <a:lnTo>
                      <a:pt x="188" y="342"/>
                    </a:lnTo>
                    <a:lnTo>
                      <a:pt x="155" y="352"/>
                    </a:lnTo>
                    <a:lnTo>
                      <a:pt x="146" y="348"/>
                    </a:lnTo>
                    <a:lnTo>
                      <a:pt x="142" y="350"/>
                    </a:lnTo>
                    <a:lnTo>
                      <a:pt x="137" y="345"/>
                    </a:lnTo>
                    <a:lnTo>
                      <a:pt x="119" y="346"/>
                    </a:lnTo>
                    <a:lnTo>
                      <a:pt x="109" y="336"/>
                    </a:lnTo>
                    <a:lnTo>
                      <a:pt x="102" y="336"/>
                    </a:lnTo>
                    <a:lnTo>
                      <a:pt x="99" y="329"/>
                    </a:lnTo>
                    <a:lnTo>
                      <a:pt x="94" y="327"/>
                    </a:lnTo>
                    <a:lnTo>
                      <a:pt x="85" y="330"/>
                    </a:lnTo>
                    <a:lnTo>
                      <a:pt x="80" y="326"/>
                    </a:lnTo>
                    <a:lnTo>
                      <a:pt x="84" y="322"/>
                    </a:lnTo>
                    <a:lnTo>
                      <a:pt x="85" y="321"/>
                    </a:lnTo>
                    <a:lnTo>
                      <a:pt x="85" y="312"/>
                    </a:lnTo>
                    <a:lnTo>
                      <a:pt x="82" y="305"/>
                    </a:lnTo>
                    <a:lnTo>
                      <a:pt x="67" y="303"/>
                    </a:lnTo>
                    <a:lnTo>
                      <a:pt x="53" y="292"/>
                    </a:lnTo>
                    <a:lnTo>
                      <a:pt x="32" y="291"/>
                    </a:lnTo>
                    <a:lnTo>
                      <a:pt x="25" y="286"/>
                    </a:lnTo>
                    <a:lnTo>
                      <a:pt x="18" y="285"/>
                    </a:lnTo>
                    <a:lnTo>
                      <a:pt x="13" y="279"/>
                    </a:lnTo>
                    <a:lnTo>
                      <a:pt x="6" y="278"/>
                    </a:lnTo>
                    <a:lnTo>
                      <a:pt x="0" y="272"/>
                    </a:lnTo>
                    <a:lnTo>
                      <a:pt x="7" y="245"/>
                    </a:lnTo>
                    <a:lnTo>
                      <a:pt x="21" y="245"/>
                    </a:lnTo>
                    <a:lnTo>
                      <a:pt x="28" y="240"/>
                    </a:lnTo>
                    <a:lnTo>
                      <a:pt x="36" y="240"/>
                    </a:lnTo>
                    <a:lnTo>
                      <a:pt x="53" y="249"/>
                    </a:lnTo>
                    <a:lnTo>
                      <a:pt x="75" y="248"/>
                    </a:lnTo>
                    <a:lnTo>
                      <a:pt x="80" y="249"/>
                    </a:lnTo>
                    <a:lnTo>
                      <a:pt x="106" y="255"/>
                    </a:lnTo>
                    <a:lnTo>
                      <a:pt x="143" y="259"/>
                    </a:lnTo>
                    <a:lnTo>
                      <a:pt x="159" y="257"/>
                    </a:lnTo>
                    <a:lnTo>
                      <a:pt x="164" y="260"/>
                    </a:lnTo>
                    <a:lnTo>
                      <a:pt x="182" y="258"/>
                    </a:lnTo>
                    <a:lnTo>
                      <a:pt x="201" y="242"/>
                    </a:lnTo>
                    <a:lnTo>
                      <a:pt x="217" y="240"/>
                    </a:lnTo>
                    <a:lnTo>
                      <a:pt x="234" y="243"/>
                    </a:lnTo>
                    <a:lnTo>
                      <a:pt x="243" y="239"/>
                    </a:lnTo>
                    <a:lnTo>
                      <a:pt x="251" y="238"/>
                    </a:lnTo>
                    <a:lnTo>
                      <a:pt x="268" y="243"/>
                    </a:lnTo>
                    <a:lnTo>
                      <a:pt x="284" y="255"/>
                    </a:lnTo>
                    <a:lnTo>
                      <a:pt x="289" y="258"/>
                    </a:lnTo>
                    <a:lnTo>
                      <a:pt x="308" y="257"/>
                    </a:lnTo>
                    <a:lnTo>
                      <a:pt x="321" y="252"/>
                    </a:lnTo>
                    <a:lnTo>
                      <a:pt x="340" y="238"/>
                    </a:lnTo>
                    <a:close/>
                    <a:moveTo>
                      <a:pt x="890" y="296"/>
                    </a:moveTo>
                    <a:lnTo>
                      <a:pt x="904" y="313"/>
                    </a:lnTo>
                    <a:lnTo>
                      <a:pt x="907" y="311"/>
                    </a:lnTo>
                    <a:lnTo>
                      <a:pt x="910" y="304"/>
                    </a:lnTo>
                    <a:lnTo>
                      <a:pt x="917" y="300"/>
                    </a:lnTo>
                    <a:lnTo>
                      <a:pt x="917" y="293"/>
                    </a:lnTo>
                    <a:lnTo>
                      <a:pt x="905" y="274"/>
                    </a:lnTo>
                    <a:lnTo>
                      <a:pt x="884" y="261"/>
                    </a:lnTo>
                    <a:lnTo>
                      <a:pt x="881" y="262"/>
                    </a:lnTo>
                    <a:lnTo>
                      <a:pt x="881" y="268"/>
                    </a:lnTo>
                    <a:lnTo>
                      <a:pt x="886" y="277"/>
                    </a:lnTo>
                    <a:lnTo>
                      <a:pt x="884" y="287"/>
                    </a:lnTo>
                    <a:lnTo>
                      <a:pt x="890" y="296"/>
                    </a:lnTo>
                    <a:close/>
                    <a:moveTo>
                      <a:pt x="926" y="507"/>
                    </a:moveTo>
                    <a:lnTo>
                      <a:pt x="921" y="500"/>
                    </a:lnTo>
                    <a:lnTo>
                      <a:pt x="914" y="504"/>
                    </a:lnTo>
                    <a:lnTo>
                      <a:pt x="909" y="518"/>
                    </a:lnTo>
                    <a:lnTo>
                      <a:pt x="921" y="519"/>
                    </a:lnTo>
                    <a:lnTo>
                      <a:pt x="926" y="507"/>
                    </a:lnTo>
                    <a:close/>
                    <a:moveTo>
                      <a:pt x="1033" y="543"/>
                    </a:moveTo>
                    <a:lnTo>
                      <a:pt x="1024" y="548"/>
                    </a:lnTo>
                    <a:lnTo>
                      <a:pt x="1023" y="556"/>
                    </a:lnTo>
                    <a:lnTo>
                      <a:pt x="1031" y="554"/>
                    </a:lnTo>
                    <a:lnTo>
                      <a:pt x="1037" y="556"/>
                    </a:lnTo>
                    <a:lnTo>
                      <a:pt x="1044" y="554"/>
                    </a:lnTo>
                    <a:lnTo>
                      <a:pt x="1044" y="550"/>
                    </a:lnTo>
                    <a:lnTo>
                      <a:pt x="1041" y="545"/>
                    </a:lnTo>
                    <a:lnTo>
                      <a:pt x="1033" y="543"/>
                    </a:lnTo>
                    <a:close/>
                    <a:moveTo>
                      <a:pt x="976" y="421"/>
                    </a:moveTo>
                    <a:lnTo>
                      <a:pt x="980" y="430"/>
                    </a:lnTo>
                    <a:lnTo>
                      <a:pt x="986" y="435"/>
                    </a:lnTo>
                    <a:lnTo>
                      <a:pt x="997" y="432"/>
                    </a:lnTo>
                    <a:lnTo>
                      <a:pt x="1006" y="425"/>
                    </a:lnTo>
                    <a:lnTo>
                      <a:pt x="1001" y="420"/>
                    </a:lnTo>
                    <a:lnTo>
                      <a:pt x="978" y="410"/>
                    </a:lnTo>
                    <a:lnTo>
                      <a:pt x="976" y="421"/>
                    </a:lnTo>
                    <a:close/>
                    <a:moveTo>
                      <a:pt x="872" y="456"/>
                    </a:moveTo>
                    <a:lnTo>
                      <a:pt x="869" y="446"/>
                    </a:lnTo>
                    <a:lnTo>
                      <a:pt x="861" y="448"/>
                    </a:lnTo>
                    <a:lnTo>
                      <a:pt x="860" y="454"/>
                    </a:lnTo>
                    <a:lnTo>
                      <a:pt x="883" y="486"/>
                    </a:lnTo>
                    <a:lnTo>
                      <a:pt x="886" y="480"/>
                    </a:lnTo>
                    <a:lnTo>
                      <a:pt x="881" y="461"/>
                    </a:lnTo>
                    <a:lnTo>
                      <a:pt x="872" y="456"/>
                    </a:lnTo>
                    <a:close/>
                    <a:moveTo>
                      <a:pt x="933" y="429"/>
                    </a:moveTo>
                    <a:lnTo>
                      <a:pt x="936" y="445"/>
                    </a:lnTo>
                    <a:lnTo>
                      <a:pt x="930" y="455"/>
                    </a:lnTo>
                    <a:lnTo>
                      <a:pt x="929" y="461"/>
                    </a:lnTo>
                    <a:lnTo>
                      <a:pt x="932" y="465"/>
                    </a:lnTo>
                    <a:lnTo>
                      <a:pt x="940" y="455"/>
                    </a:lnTo>
                    <a:lnTo>
                      <a:pt x="943" y="446"/>
                    </a:lnTo>
                    <a:lnTo>
                      <a:pt x="945" y="439"/>
                    </a:lnTo>
                    <a:lnTo>
                      <a:pt x="941" y="430"/>
                    </a:lnTo>
                    <a:lnTo>
                      <a:pt x="933" y="429"/>
                    </a:lnTo>
                    <a:close/>
                  </a:path>
                </a:pathLst>
              </a:custGeom>
              <a:solidFill>
                <a:srgbClr val="9393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4" name="Freeform 19">
                <a:extLst>
                  <a:ext uri="{FF2B5EF4-FFF2-40B4-BE49-F238E27FC236}">
                    <a16:creationId xmlns:a16="http://schemas.microsoft.com/office/drawing/2014/main" id="{2C691EE9-E524-4E3E-9C73-136F99CC8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64691" y="3987802"/>
                <a:ext cx="1414463" cy="1309688"/>
              </a:xfrm>
              <a:custGeom>
                <a:avLst/>
                <a:gdLst>
                  <a:gd name="T0" fmla="*/ 26 w 843"/>
                  <a:gd name="T1" fmla="*/ 716 h 783"/>
                  <a:gd name="T2" fmla="*/ 9 w 843"/>
                  <a:gd name="T3" fmla="*/ 692 h 783"/>
                  <a:gd name="T4" fmla="*/ 20 w 843"/>
                  <a:gd name="T5" fmla="*/ 643 h 783"/>
                  <a:gd name="T6" fmla="*/ 30 w 843"/>
                  <a:gd name="T7" fmla="*/ 596 h 783"/>
                  <a:gd name="T8" fmla="*/ 14 w 843"/>
                  <a:gd name="T9" fmla="*/ 533 h 783"/>
                  <a:gd name="T10" fmla="*/ 41 w 843"/>
                  <a:gd name="T11" fmla="*/ 461 h 783"/>
                  <a:gd name="T12" fmla="*/ 56 w 843"/>
                  <a:gd name="T13" fmla="*/ 435 h 783"/>
                  <a:gd name="T14" fmla="*/ 79 w 843"/>
                  <a:gd name="T15" fmla="*/ 391 h 783"/>
                  <a:gd name="T16" fmla="*/ 85 w 843"/>
                  <a:gd name="T17" fmla="*/ 347 h 783"/>
                  <a:gd name="T18" fmla="*/ 152 w 843"/>
                  <a:gd name="T19" fmla="*/ 343 h 783"/>
                  <a:gd name="T20" fmla="*/ 195 w 843"/>
                  <a:gd name="T21" fmla="*/ 342 h 783"/>
                  <a:gd name="T22" fmla="*/ 254 w 843"/>
                  <a:gd name="T23" fmla="*/ 316 h 783"/>
                  <a:gd name="T24" fmla="*/ 293 w 843"/>
                  <a:gd name="T25" fmla="*/ 247 h 783"/>
                  <a:gd name="T26" fmla="*/ 346 w 843"/>
                  <a:gd name="T27" fmla="*/ 251 h 783"/>
                  <a:gd name="T28" fmla="*/ 402 w 843"/>
                  <a:gd name="T29" fmla="*/ 256 h 783"/>
                  <a:gd name="T30" fmla="*/ 444 w 843"/>
                  <a:gd name="T31" fmla="*/ 243 h 783"/>
                  <a:gd name="T32" fmla="*/ 498 w 843"/>
                  <a:gd name="T33" fmla="*/ 215 h 783"/>
                  <a:gd name="T34" fmla="*/ 595 w 843"/>
                  <a:gd name="T35" fmla="*/ 240 h 783"/>
                  <a:gd name="T36" fmla="*/ 638 w 843"/>
                  <a:gd name="T37" fmla="*/ 250 h 783"/>
                  <a:gd name="T38" fmla="*/ 674 w 843"/>
                  <a:gd name="T39" fmla="*/ 234 h 783"/>
                  <a:gd name="T40" fmla="*/ 655 w 843"/>
                  <a:gd name="T41" fmla="*/ 191 h 783"/>
                  <a:gd name="T42" fmla="*/ 677 w 843"/>
                  <a:gd name="T43" fmla="*/ 180 h 783"/>
                  <a:gd name="T44" fmla="*/ 651 w 843"/>
                  <a:gd name="T45" fmla="*/ 44 h 783"/>
                  <a:gd name="T46" fmla="*/ 626 w 843"/>
                  <a:gd name="T47" fmla="*/ 22 h 783"/>
                  <a:gd name="T48" fmla="*/ 631 w 843"/>
                  <a:gd name="T49" fmla="*/ 3 h 783"/>
                  <a:gd name="T50" fmla="*/ 657 w 843"/>
                  <a:gd name="T51" fmla="*/ 10 h 783"/>
                  <a:gd name="T52" fmla="*/ 690 w 843"/>
                  <a:gd name="T53" fmla="*/ 21 h 783"/>
                  <a:gd name="T54" fmla="*/ 732 w 843"/>
                  <a:gd name="T55" fmla="*/ 55 h 783"/>
                  <a:gd name="T56" fmla="*/ 731 w 843"/>
                  <a:gd name="T57" fmla="*/ 72 h 783"/>
                  <a:gd name="T58" fmla="*/ 733 w 843"/>
                  <a:gd name="T59" fmla="*/ 112 h 783"/>
                  <a:gd name="T60" fmla="*/ 740 w 843"/>
                  <a:gd name="T61" fmla="*/ 156 h 783"/>
                  <a:gd name="T62" fmla="*/ 774 w 843"/>
                  <a:gd name="T63" fmla="*/ 237 h 783"/>
                  <a:gd name="T64" fmla="*/ 783 w 843"/>
                  <a:gd name="T65" fmla="*/ 262 h 783"/>
                  <a:gd name="T66" fmla="*/ 778 w 843"/>
                  <a:gd name="T67" fmla="*/ 306 h 783"/>
                  <a:gd name="T68" fmla="*/ 803 w 843"/>
                  <a:gd name="T69" fmla="*/ 358 h 783"/>
                  <a:gd name="T70" fmla="*/ 833 w 843"/>
                  <a:gd name="T71" fmla="*/ 445 h 783"/>
                  <a:gd name="T72" fmla="*/ 843 w 843"/>
                  <a:gd name="T73" fmla="*/ 486 h 783"/>
                  <a:gd name="T74" fmla="*/ 813 w 843"/>
                  <a:gd name="T75" fmla="*/ 527 h 783"/>
                  <a:gd name="T76" fmla="*/ 788 w 843"/>
                  <a:gd name="T77" fmla="*/ 556 h 783"/>
                  <a:gd name="T78" fmla="*/ 790 w 843"/>
                  <a:gd name="T79" fmla="*/ 580 h 783"/>
                  <a:gd name="T80" fmla="*/ 764 w 843"/>
                  <a:gd name="T81" fmla="*/ 605 h 783"/>
                  <a:gd name="T82" fmla="*/ 763 w 843"/>
                  <a:gd name="T83" fmla="*/ 665 h 783"/>
                  <a:gd name="T84" fmla="*/ 720 w 843"/>
                  <a:gd name="T85" fmla="*/ 679 h 783"/>
                  <a:gd name="T86" fmla="*/ 694 w 843"/>
                  <a:gd name="T87" fmla="*/ 710 h 783"/>
                  <a:gd name="T88" fmla="*/ 674 w 843"/>
                  <a:gd name="T89" fmla="*/ 757 h 783"/>
                  <a:gd name="T90" fmla="*/ 630 w 843"/>
                  <a:gd name="T91" fmla="*/ 750 h 783"/>
                  <a:gd name="T92" fmla="*/ 563 w 843"/>
                  <a:gd name="T93" fmla="*/ 761 h 783"/>
                  <a:gd name="T94" fmla="*/ 498 w 843"/>
                  <a:gd name="T95" fmla="*/ 721 h 783"/>
                  <a:gd name="T96" fmla="*/ 426 w 843"/>
                  <a:gd name="T97" fmla="*/ 714 h 783"/>
                  <a:gd name="T98" fmla="*/ 413 w 843"/>
                  <a:gd name="T99" fmla="*/ 762 h 783"/>
                  <a:gd name="T100" fmla="*/ 347 w 843"/>
                  <a:gd name="T101" fmla="*/ 748 h 783"/>
                  <a:gd name="T102" fmla="*/ 281 w 843"/>
                  <a:gd name="T103" fmla="*/ 742 h 783"/>
                  <a:gd name="T104" fmla="*/ 198 w 843"/>
                  <a:gd name="T105" fmla="*/ 744 h 783"/>
                  <a:gd name="T106" fmla="*/ 145 w 843"/>
                  <a:gd name="T107" fmla="*/ 734 h 783"/>
                  <a:gd name="T108" fmla="*/ 83 w 843"/>
                  <a:gd name="T109" fmla="*/ 737 h 783"/>
                  <a:gd name="T110" fmla="*/ 809 w 843"/>
                  <a:gd name="T111" fmla="*/ 69 h 783"/>
                  <a:gd name="T112" fmla="*/ 830 w 843"/>
                  <a:gd name="T113" fmla="*/ 58 h 783"/>
                  <a:gd name="T114" fmla="*/ 798 w 843"/>
                  <a:gd name="T115" fmla="*/ 25 h 783"/>
                  <a:gd name="T116" fmla="*/ 767 w 843"/>
                  <a:gd name="T117" fmla="*/ 35 h 783"/>
                  <a:gd name="T118" fmla="*/ 780 w 843"/>
                  <a:gd name="T119" fmla="*/ 45 h 783"/>
                  <a:gd name="T120" fmla="*/ 805 w 843"/>
                  <a:gd name="T121" fmla="*/ 64 h 7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3" h="783">
                    <a:moveTo>
                      <a:pt x="55" y="737"/>
                    </a:moveTo>
                    <a:cubicBezTo>
                      <a:pt x="41" y="742"/>
                      <a:pt x="59" y="730"/>
                      <a:pt x="40" y="730"/>
                    </a:cubicBezTo>
                    <a:cubicBezTo>
                      <a:pt x="31" y="727"/>
                      <a:pt x="30" y="709"/>
                      <a:pt x="26" y="716"/>
                    </a:cubicBezTo>
                    <a:cubicBezTo>
                      <a:pt x="18" y="723"/>
                      <a:pt x="0" y="709"/>
                      <a:pt x="4" y="700"/>
                    </a:cubicBezTo>
                    <a:cubicBezTo>
                      <a:pt x="4" y="700"/>
                      <a:pt x="4" y="700"/>
                      <a:pt x="4" y="700"/>
                    </a:cubicBezTo>
                    <a:cubicBezTo>
                      <a:pt x="6" y="697"/>
                      <a:pt x="8" y="694"/>
                      <a:pt x="9" y="692"/>
                    </a:cubicBezTo>
                    <a:cubicBezTo>
                      <a:pt x="15" y="687"/>
                      <a:pt x="22" y="682"/>
                      <a:pt x="20" y="672"/>
                    </a:cubicBezTo>
                    <a:cubicBezTo>
                      <a:pt x="15" y="664"/>
                      <a:pt x="31" y="670"/>
                      <a:pt x="21" y="656"/>
                    </a:cubicBezTo>
                    <a:cubicBezTo>
                      <a:pt x="13" y="643"/>
                      <a:pt x="38" y="647"/>
                      <a:pt x="20" y="643"/>
                    </a:cubicBezTo>
                    <a:cubicBezTo>
                      <a:pt x="12" y="633"/>
                      <a:pt x="13" y="631"/>
                      <a:pt x="10" y="628"/>
                    </a:cubicBezTo>
                    <a:cubicBezTo>
                      <a:pt x="7" y="614"/>
                      <a:pt x="18" y="616"/>
                      <a:pt x="22" y="610"/>
                    </a:cubicBezTo>
                    <a:cubicBezTo>
                      <a:pt x="22" y="604"/>
                      <a:pt x="20" y="595"/>
                      <a:pt x="30" y="596"/>
                    </a:cubicBezTo>
                    <a:cubicBezTo>
                      <a:pt x="29" y="585"/>
                      <a:pt x="27" y="583"/>
                      <a:pt x="30" y="574"/>
                    </a:cubicBezTo>
                    <a:cubicBezTo>
                      <a:pt x="32" y="565"/>
                      <a:pt x="12" y="568"/>
                      <a:pt x="19" y="551"/>
                    </a:cubicBezTo>
                    <a:cubicBezTo>
                      <a:pt x="37" y="535"/>
                      <a:pt x="12" y="543"/>
                      <a:pt x="14" y="533"/>
                    </a:cubicBezTo>
                    <a:cubicBezTo>
                      <a:pt x="7" y="521"/>
                      <a:pt x="15" y="520"/>
                      <a:pt x="16" y="505"/>
                    </a:cubicBezTo>
                    <a:cubicBezTo>
                      <a:pt x="26" y="498"/>
                      <a:pt x="35" y="494"/>
                      <a:pt x="29" y="480"/>
                    </a:cubicBezTo>
                    <a:cubicBezTo>
                      <a:pt x="26" y="469"/>
                      <a:pt x="33" y="468"/>
                      <a:pt x="41" y="461"/>
                    </a:cubicBezTo>
                    <a:cubicBezTo>
                      <a:pt x="49" y="457"/>
                      <a:pt x="37" y="453"/>
                      <a:pt x="43" y="443"/>
                    </a:cubicBezTo>
                    <a:cubicBezTo>
                      <a:pt x="51" y="442"/>
                      <a:pt x="56" y="439"/>
                      <a:pt x="55" y="435"/>
                    </a:cubicBezTo>
                    <a:cubicBezTo>
                      <a:pt x="56" y="435"/>
                      <a:pt x="56" y="435"/>
                      <a:pt x="56" y="435"/>
                    </a:cubicBezTo>
                    <a:cubicBezTo>
                      <a:pt x="61" y="435"/>
                      <a:pt x="72" y="431"/>
                      <a:pt x="77" y="431"/>
                    </a:cubicBezTo>
                    <a:cubicBezTo>
                      <a:pt x="90" y="424"/>
                      <a:pt x="67" y="416"/>
                      <a:pt x="86" y="409"/>
                    </a:cubicBezTo>
                    <a:cubicBezTo>
                      <a:pt x="103" y="395"/>
                      <a:pt x="72" y="406"/>
                      <a:pt x="79" y="391"/>
                    </a:cubicBezTo>
                    <a:cubicBezTo>
                      <a:pt x="75" y="381"/>
                      <a:pt x="104" y="392"/>
                      <a:pt x="85" y="383"/>
                    </a:cubicBezTo>
                    <a:cubicBezTo>
                      <a:pt x="78" y="380"/>
                      <a:pt x="76" y="366"/>
                      <a:pt x="77" y="362"/>
                    </a:cubicBezTo>
                    <a:cubicBezTo>
                      <a:pt x="73" y="356"/>
                      <a:pt x="75" y="339"/>
                      <a:pt x="85" y="347"/>
                    </a:cubicBezTo>
                    <a:cubicBezTo>
                      <a:pt x="89" y="355"/>
                      <a:pt x="99" y="350"/>
                      <a:pt x="102" y="352"/>
                    </a:cubicBezTo>
                    <a:cubicBezTo>
                      <a:pt x="110" y="352"/>
                      <a:pt x="123" y="347"/>
                      <a:pt x="127" y="338"/>
                    </a:cubicBezTo>
                    <a:cubicBezTo>
                      <a:pt x="137" y="328"/>
                      <a:pt x="152" y="330"/>
                      <a:pt x="152" y="343"/>
                    </a:cubicBezTo>
                    <a:cubicBezTo>
                      <a:pt x="162" y="354"/>
                      <a:pt x="141" y="366"/>
                      <a:pt x="151" y="370"/>
                    </a:cubicBezTo>
                    <a:cubicBezTo>
                      <a:pt x="152" y="359"/>
                      <a:pt x="164" y="358"/>
                      <a:pt x="170" y="364"/>
                    </a:cubicBezTo>
                    <a:cubicBezTo>
                      <a:pt x="168" y="351"/>
                      <a:pt x="190" y="351"/>
                      <a:pt x="195" y="342"/>
                    </a:cubicBezTo>
                    <a:cubicBezTo>
                      <a:pt x="202" y="344"/>
                      <a:pt x="213" y="337"/>
                      <a:pt x="217" y="346"/>
                    </a:cubicBezTo>
                    <a:cubicBezTo>
                      <a:pt x="224" y="348"/>
                      <a:pt x="224" y="339"/>
                      <a:pt x="233" y="331"/>
                    </a:cubicBezTo>
                    <a:cubicBezTo>
                      <a:pt x="237" y="320"/>
                      <a:pt x="251" y="321"/>
                      <a:pt x="254" y="316"/>
                    </a:cubicBezTo>
                    <a:cubicBezTo>
                      <a:pt x="253" y="302"/>
                      <a:pt x="258" y="286"/>
                      <a:pt x="260" y="272"/>
                    </a:cubicBezTo>
                    <a:cubicBezTo>
                      <a:pt x="271" y="261"/>
                      <a:pt x="268" y="260"/>
                      <a:pt x="279" y="247"/>
                    </a:cubicBezTo>
                    <a:cubicBezTo>
                      <a:pt x="287" y="246"/>
                      <a:pt x="283" y="234"/>
                      <a:pt x="293" y="247"/>
                    </a:cubicBezTo>
                    <a:cubicBezTo>
                      <a:pt x="302" y="254"/>
                      <a:pt x="287" y="272"/>
                      <a:pt x="305" y="273"/>
                    </a:cubicBezTo>
                    <a:cubicBezTo>
                      <a:pt x="310" y="263"/>
                      <a:pt x="314" y="250"/>
                      <a:pt x="327" y="259"/>
                    </a:cubicBezTo>
                    <a:cubicBezTo>
                      <a:pt x="330" y="246"/>
                      <a:pt x="337" y="256"/>
                      <a:pt x="346" y="251"/>
                    </a:cubicBezTo>
                    <a:cubicBezTo>
                      <a:pt x="357" y="255"/>
                      <a:pt x="343" y="268"/>
                      <a:pt x="354" y="275"/>
                    </a:cubicBezTo>
                    <a:cubicBezTo>
                      <a:pt x="369" y="281"/>
                      <a:pt x="380" y="253"/>
                      <a:pt x="387" y="262"/>
                    </a:cubicBezTo>
                    <a:cubicBezTo>
                      <a:pt x="391" y="278"/>
                      <a:pt x="394" y="258"/>
                      <a:pt x="402" y="256"/>
                    </a:cubicBezTo>
                    <a:cubicBezTo>
                      <a:pt x="402" y="247"/>
                      <a:pt x="402" y="237"/>
                      <a:pt x="405" y="228"/>
                    </a:cubicBezTo>
                    <a:cubicBezTo>
                      <a:pt x="397" y="220"/>
                      <a:pt x="418" y="207"/>
                      <a:pt x="422" y="222"/>
                    </a:cubicBezTo>
                    <a:cubicBezTo>
                      <a:pt x="433" y="222"/>
                      <a:pt x="436" y="236"/>
                      <a:pt x="444" y="243"/>
                    </a:cubicBezTo>
                    <a:cubicBezTo>
                      <a:pt x="453" y="241"/>
                      <a:pt x="473" y="231"/>
                      <a:pt x="473" y="237"/>
                    </a:cubicBezTo>
                    <a:cubicBezTo>
                      <a:pt x="482" y="240"/>
                      <a:pt x="483" y="221"/>
                      <a:pt x="479" y="213"/>
                    </a:cubicBezTo>
                    <a:cubicBezTo>
                      <a:pt x="486" y="207"/>
                      <a:pt x="493" y="202"/>
                      <a:pt x="498" y="215"/>
                    </a:cubicBezTo>
                    <a:cubicBezTo>
                      <a:pt x="504" y="234"/>
                      <a:pt x="527" y="231"/>
                      <a:pt x="543" y="228"/>
                    </a:cubicBezTo>
                    <a:cubicBezTo>
                      <a:pt x="552" y="228"/>
                      <a:pt x="576" y="226"/>
                      <a:pt x="572" y="234"/>
                    </a:cubicBezTo>
                    <a:cubicBezTo>
                      <a:pt x="573" y="234"/>
                      <a:pt x="583" y="240"/>
                      <a:pt x="595" y="240"/>
                    </a:cubicBezTo>
                    <a:cubicBezTo>
                      <a:pt x="600" y="239"/>
                      <a:pt x="603" y="240"/>
                      <a:pt x="604" y="241"/>
                    </a:cubicBezTo>
                    <a:cubicBezTo>
                      <a:pt x="604" y="241"/>
                      <a:pt x="618" y="241"/>
                      <a:pt x="620" y="243"/>
                    </a:cubicBezTo>
                    <a:cubicBezTo>
                      <a:pt x="623" y="244"/>
                      <a:pt x="638" y="250"/>
                      <a:pt x="638" y="250"/>
                    </a:cubicBezTo>
                    <a:cubicBezTo>
                      <a:pt x="650" y="240"/>
                      <a:pt x="650" y="240"/>
                      <a:pt x="650" y="240"/>
                    </a:cubicBezTo>
                    <a:cubicBezTo>
                      <a:pt x="668" y="241"/>
                      <a:pt x="668" y="241"/>
                      <a:pt x="668" y="241"/>
                    </a:cubicBezTo>
                    <a:cubicBezTo>
                      <a:pt x="674" y="234"/>
                      <a:pt x="674" y="234"/>
                      <a:pt x="674" y="234"/>
                    </a:cubicBezTo>
                    <a:cubicBezTo>
                      <a:pt x="675" y="218"/>
                      <a:pt x="675" y="218"/>
                      <a:pt x="675" y="218"/>
                    </a:cubicBezTo>
                    <a:cubicBezTo>
                      <a:pt x="658" y="208"/>
                      <a:pt x="658" y="208"/>
                      <a:pt x="658" y="208"/>
                    </a:cubicBezTo>
                    <a:cubicBezTo>
                      <a:pt x="655" y="191"/>
                      <a:pt x="655" y="191"/>
                      <a:pt x="655" y="191"/>
                    </a:cubicBezTo>
                    <a:cubicBezTo>
                      <a:pt x="663" y="190"/>
                      <a:pt x="663" y="190"/>
                      <a:pt x="663" y="190"/>
                    </a:cubicBezTo>
                    <a:cubicBezTo>
                      <a:pt x="664" y="180"/>
                      <a:pt x="664" y="180"/>
                      <a:pt x="664" y="180"/>
                    </a:cubicBezTo>
                    <a:cubicBezTo>
                      <a:pt x="677" y="180"/>
                      <a:pt x="677" y="180"/>
                      <a:pt x="677" y="180"/>
                    </a:cubicBezTo>
                    <a:cubicBezTo>
                      <a:pt x="683" y="116"/>
                      <a:pt x="683" y="116"/>
                      <a:pt x="683" y="116"/>
                    </a:cubicBezTo>
                    <a:cubicBezTo>
                      <a:pt x="650" y="62"/>
                      <a:pt x="650" y="62"/>
                      <a:pt x="650" y="62"/>
                    </a:cubicBezTo>
                    <a:cubicBezTo>
                      <a:pt x="651" y="44"/>
                      <a:pt x="651" y="44"/>
                      <a:pt x="651" y="44"/>
                    </a:cubicBezTo>
                    <a:cubicBezTo>
                      <a:pt x="619" y="32"/>
                      <a:pt x="619" y="32"/>
                      <a:pt x="619" y="32"/>
                    </a:cubicBezTo>
                    <a:cubicBezTo>
                      <a:pt x="616" y="24"/>
                      <a:pt x="616" y="24"/>
                      <a:pt x="616" y="24"/>
                    </a:cubicBezTo>
                    <a:cubicBezTo>
                      <a:pt x="626" y="22"/>
                      <a:pt x="626" y="22"/>
                      <a:pt x="626" y="22"/>
                    </a:cubicBezTo>
                    <a:cubicBezTo>
                      <a:pt x="632" y="14"/>
                      <a:pt x="632" y="14"/>
                      <a:pt x="632" y="14"/>
                    </a:cubicBezTo>
                    <a:cubicBezTo>
                      <a:pt x="630" y="8"/>
                      <a:pt x="630" y="8"/>
                      <a:pt x="630" y="8"/>
                    </a:cubicBezTo>
                    <a:cubicBezTo>
                      <a:pt x="631" y="3"/>
                      <a:pt x="631" y="3"/>
                      <a:pt x="631" y="3"/>
                    </a:cubicBezTo>
                    <a:cubicBezTo>
                      <a:pt x="635" y="0"/>
                      <a:pt x="635" y="0"/>
                      <a:pt x="635" y="0"/>
                    </a:cubicBezTo>
                    <a:cubicBezTo>
                      <a:pt x="647" y="2"/>
                      <a:pt x="647" y="2"/>
                      <a:pt x="647" y="2"/>
                    </a:cubicBezTo>
                    <a:cubicBezTo>
                      <a:pt x="657" y="10"/>
                      <a:pt x="657" y="10"/>
                      <a:pt x="657" y="10"/>
                    </a:cubicBezTo>
                    <a:cubicBezTo>
                      <a:pt x="658" y="10"/>
                      <a:pt x="658" y="10"/>
                      <a:pt x="658" y="10"/>
                    </a:cubicBezTo>
                    <a:cubicBezTo>
                      <a:pt x="681" y="15"/>
                      <a:pt x="681" y="15"/>
                      <a:pt x="681" y="15"/>
                    </a:cubicBezTo>
                    <a:cubicBezTo>
                      <a:pt x="690" y="21"/>
                      <a:pt x="690" y="21"/>
                      <a:pt x="690" y="21"/>
                    </a:cubicBezTo>
                    <a:cubicBezTo>
                      <a:pt x="696" y="29"/>
                      <a:pt x="696" y="29"/>
                      <a:pt x="696" y="29"/>
                    </a:cubicBezTo>
                    <a:cubicBezTo>
                      <a:pt x="718" y="47"/>
                      <a:pt x="718" y="47"/>
                      <a:pt x="718" y="47"/>
                    </a:cubicBezTo>
                    <a:cubicBezTo>
                      <a:pt x="732" y="55"/>
                      <a:pt x="732" y="55"/>
                      <a:pt x="732" y="55"/>
                    </a:cubicBezTo>
                    <a:cubicBezTo>
                      <a:pt x="753" y="64"/>
                      <a:pt x="753" y="64"/>
                      <a:pt x="753" y="64"/>
                    </a:cubicBezTo>
                    <a:cubicBezTo>
                      <a:pt x="742" y="73"/>
                      <a:pt x="742" y="73"/>
                      <a:pt x="742" y="73"/>
                    </a:cubicBezTo>
                    <a:cubicBezTo>
                      <a:pt x="731" y="72"/>
                      <a:pt x="731" y="72"/>
                      <a:pt x="731" y="72"/>
                    </a:cubicBezTo>
                    <a:cubicBezTo>
                      <a:pt x="726" y="78"/>
                      <a:pt x="726" y="78"/>
                      <a:pt x="726" y="78"/>
                    </a:cubicBezTo>
                    <a:cubicBezTo>
                      <a:pt x="735" y="94"/>
                      <a:pt x="735" y="94"/>
                      <a:pt x="735" y="94"/>
                    </a:cubicBezTo>
                    <a:cubicBezTo>
                      <a:pt x="733" y="112"/>
                      <a:pt x="733" y="112"/>
                      <a:pt x="733" y="112"/>
                    </a:cubicBezTo>
                    <a:cubicBezTo>
                      <a:pt x="738" y="130"/>
                      <a:pt x="738" y="130"/>
                      <a:pt x="738" y="130"/>
                    </a:cubicBezTo>
                    <a:cubicBezTo>
                      <a:pt x="741" y="147"/>
                      <a:pt x="741" y="147"/>
                      <a:pt x="741" y="147"/>
                    </a:cubicBezTo>
                    <a:cubicBezTo>
                      <a:pt x="740" y="156"/>
                      <a:pt x="740" y="156"/>
                      <a:pt x="740" y="156"/>
                    </a:cubicBezTo>
                    <a:cubicBezTo>
                      <a:pt x="731" y="175"/>
                      <a:pt x="731" y="175"/>
                      <a:pt x="731" y="175"/>
                    </a:cubicBezTo>
                    <a:cubicBezTo>
                      <a:pt x="749" y="209"/>
                      <a:pt x="749" y="209"/>
                      <a:pt x="749" y="209"/>
                    </a:cubicBezTo>
                    <a:cubicBezTo>
                      <a:pt x="774" y="237"/>
                      <a:pt x="774" y="237"/>
                      <a:pt x="774" y="237"/>
                    </a:cubicBezTo>
                    <a:cubicBezTo>
                      <a:pt x="779" y="248"/>
                      <a:pt x="779" y="248"/>
                      <a:pt x="779" y="248"/>
                    </a:cubicBezTo>
                    <a:cubicBezTo>
                      <a:pt x="784" y="259"/>
                      <a:pt x="784" y="259"/>
                      <a:pt x="784" y="259"/>
                    </a:cubicBezTo>
                    <a:cubicBezTo>
                      <a:pt x="783" y="262"/>
                      <a:pt x="783" y="262"/>
                      <a:pt x="783" y="262"/>
                    </a:cubicBezTo>
                    <a:cubicBezTo>
                      <a:pt x="778" y="276"/>
                      <a:pt x="778" y="276"/>
                      <a:pt x="778" y="276"/>
                    </a:cubicBezTo>
                    <a:cubicBezTo>
                      <a:pt x="776" y="299"/>
                      <a:pt x="776" y="299"/>
                      <a:pt x="776" y="299"/>
                    </a:cubicBezTo>
                    <a:cubicBezTo>
                      <a:pt x="778" y="306"/>
                      <a:pt x="778" y="306"/>
                      <a:pt x="778" y="306"/>
                    </a:cubicBezTo>
                    <a:cubicBezTo>
                      <a:pt x="784" y="326"/>
                      <a:pt x="784" y="326"/>
                      <a:pt x="784" y="326"/>
                    </a:cubicBezTo>
                    <a:cubicBezTo>
                      <a:pt x="794" y="347"/>
                      <a:pt x="794" y="347"/>
                      <a:pt x="794" y="347"/>
                    </a:cubicBezTo>
                    <a:cubicBezTo>
                      <a:pt x="803" y="358"/>
                      <a:pt x="803" y="358"/>
                      <a:pt x="803" y="358"/>
                    </a:cubicBezTo>
                    <a:cubicBezTo>
                      <a:pt x="808" y="381"/>
                      <a:pt x="808" y="381"/>
                      <a:pt x="808" y="381"/>
                    </a:cubicBezTo>
                    <a:cubicBezTo>
                      <a:pt x="823" y="410"/>
                      <a:pt x="823" y="410"/>
                      <a:pt x="823" y="410"/>
                    </a:cubicBezTo>
                    <a:cubicBezTo>
                      <a:pt x="833" y="445"/>
                      <a:pt x="833" y="445"/>
                      <a:pt x="833" y="445"/>
                    </a:cubicBezTo>
                    <a:cubicBezTo>
                      <a:pt x="832" y="466"/>
                      <a:pt x="832" y="466"/>
                      <a:pt x="832" y="466"/>
                    </a:cubicBezTo>
                    <a:cubicBezTo>
                      <a:pt x="836" y="475"/>
                      <a:pt x="836" y="475"/>
                      <a:pt x="836" y="475"/>
                    </a:cubicBezTo>
                    <a:cubicBezTo>
                      <a:pt x="843" y="486"/>
                      <a:pt x="843" y="486"/>
                      <a:pt x="843" y="486"/>
                    </a:cubicBezTo>
                    <a:cubicBezTo>
                      <a:pt x="840" y="499"/>
                      <a:pt x="840" y="499"/>
                      <a:pt x="840" y="499"/>
                    </a:cubicBezTo>
                    <a:cubicBezTo>
                      <a:pt x="828" y="503"/>
                      <a:pt x="828" y="503"/>
                      <a:pt x="828" y="503"/>
                    </a:cubicBezTo>
                    <a:cubicBezTo>
                      <a:pt x="813" y="527"/>
                      <a:pt x="813" y="527"/>
                      <a:pt x="813" y="527"/>
                    </a:cubicBezTo>
                    <a:cubicBezTo>
                      <a:pt x="811" y="538"/>
                      <a:pt x="811" y="538"/>
                      <a:pt x="811" y="538"/>
                    </a:cubicBezTo>
                    <a:cubicBezTo>
                      <a:pt x="789" y="541"/>
                      <a:pt x="789" y="541"/>
                      <a:pt x="789" y="541"/>
                    </a:cubicBezTo>
                    <a:cubicBezTo>
                      <a:pt x="788" y="556"/>
                      <a:pt x="788" y="556"/>
                      <a:pt x="788" y="556"/>
                    </a:cubicBezTo>
                    <a:cubicBezTo>
                      <a:pt x="800" y="568"/>
                      <a:pt x="800" y="568"/>
                      <a:pt x="800" y="568"/>
                    </a:cubicBezTo>
                    <a:cubicBezTo>
                      <a:pt x="799" y="574"/>
                      <a:pt x="799" y="574"/>
                      <a:pt x="799" y="574"/>
                    </a:cubicBezTo>
                    <a:cubicBezTo>
                      <a:pt x="799" y="574"/>
                      <a:pt x="797" y="582"/>
                      <a:pt x="790" y="580"/>
                    </a:cubicBezTo>
                    <a:cubicBezTo>
                      <a:pt x="783" y="578"/>
                      <a:pt x="768" y="580"/>
                      <a:pt x="768" y="580"/>
                    </a:cubicBezTo>
                    <a:cubicBezTo>
                      <a:pt x="772" y="599"/>
                      <a:pt x="772" y="599"/>
                      <a:pt x="772" y="599"/>
                    </a:cubicBezTo>
                    <a:cubicBezTo>
                      <a:pt x="764" y="605"/>
                      <a:pt x="764" y="605"/>
                      <a:pt x="764" y="605"/>
                    </a:cubicBezTo>
                    <a:cubicBezTo>
                      <a:pt x="768" y="624"/>
                      <a:pt x="768" y="624"/>
                      <a:pt x="768" y="624"/>
                    </a:cubicBezTo>
                    <a:cubicBezTo>
                      <a:pt x="768" y="624"/>
                      <a:pt x="769" y="642"/>
                      <a:pt x="765" y="647"/>
                    </a:cubicBezTo>
                    <a:cubicBezTo>
                      <a:pt x="762" y="651"/>
                      <a:pt x="765" y="665"/>
                      <a:pt x="763" y="665"/>
                    </a:cubicBezTo>
                    <a:cubicBezTo>
                      <a:pt x="760" y="665"/>
                      <a:pt x="755" y="673"/>
                      <a:pt x="754" y="677"/>
                    </a:cubicBezTo>
                    <a:cubicBezTo>
                      <a:pt x="753" y="682"/>
                      <a:pt x="746" y="678"/>
                      <a:pt x="746" y="678"/>
                    </a:cubicBezTo>
                    <a:cubicBezTo>
                      <a:pt x="720" y="679"/>
                      <a:pt x="720" y="679"/>
                      <a:pt x="720" y="679"/>
                    </a:cubicBezTo>
                    <a:cubicBezTo>
                      <a:pt x="708" y="682"/>
                      <a:pt x="708" y="682"/>
                      <a:pt x="708" y="682"/>
                    </a:cubicBezTo>
                    <a:cubicBezTo>
                      <a:pt x="706" y="698"/>
                      <a:pt x="706" y="698"/>
                      <a:pt x="706" y="698"/>
                    </a:cubicBezTo>
                    <a:cubicBezTo>
                      <a:pt x="706" y="698"/>
                      <a:pt x="697" y="706"/>
                      <a:pt x="694" y="710"/>
                    </a:cubicBezTo>
                    <a:cubicBezTo>
                      <a:pt x="691" y="714"/>
                      <a:pt x="690" y="732"/>
                      <a:pt x="691" y="739"/>
                    </a:cubicBezTo>
                    <a:cubicBezTo>
                      <a:pt x="692" y="747"/>
                      <a:pt x="697" y="754"/>
                      <a:pt x="693" y="758"/>
                    </a:cubicBezTo>
                    <a:cubicBezTo>
                      <a:pt x="689" y="763"/>
                      <a:pt x="683" y="758"/>
                      <a:pt x="674" y="757"/>
                    </a:cubicBezTo>
                    <a:cubicBezTo>
                      <a:pt x="665" y="756"/>
                      <a:pt x="659" y="758"/>
                      <a:pt x="647" y="762"/>
                    </a:cubicBezTo>
                    <a:cubicBezTo>
                      <a:pt x="634" y="765"/>
                      <a:pt x="634" y="762"/>
                      <a:pt x="634" y="762"/>
                    </a:cubicBezTo>
                    <a:cubicBezTo>
                      <a:pt x="636" y="757"/>
                      <a:pt x="637" y="752"/>
                      <a:pt x="630" y="750"/>
                    </a:cubicBezTo>
                    <a:cubicBezTo>
                      <a:pt x="614" y="749"/>
                      <a:pt x="633" y="783"/>
                      <a:pt x="619" y="778"/>
                    </a:cubicBezTo>
                    <a:cubicBezTo>
                      <a:pt x="609" y="777"/>
                      <a:pt x="605" y="769"/>
                      <a:pt x="593" y="763"/>
                    </a:cubicBezTo>
                    <a:cubicBezTo>
                      <a:pt x="579" y="768"/>
                      <a:pt x="571" y="770"/>
                      <a:pt x="563" y="761"/>
                    </a:cubicBezTo>
                    <a:cubicBezTo>
                      <a:pt x="551" y="763"/>
                      <a:pt x="553" y="742"/>
                      <a:pt x="539" y="749"/>
                    </a:cubicBezTo>
                    <a:cubicBezTo>
                      <a:pt x="525" y="759"/>
                      <a:pt x="521" y="743"/>
                      <a:pt x="521" y="738"/>
                    </a:cubicBezTo>
                    <a:cubicBezTo>
                      <a:pt x="506" y="742"/>
                      <a:pt x="503" y="738"/>
                      <a:pt x="498" y="721"/>
                    </a:cubicBezTo>
                    <a:cubicBezTo>
                      <a:pt x="495" y="707"/>
                      <a:pt x="479" y="702"/>
                      <a:pt x="471" y="706"/>
                    </a:cubicBezTo>
                    <a:cubicBezTo>
                      <a:pt x="460" y="695"/>
                      <a:pt x="469" y="686"/>
                      <a:pt x="449" y="703"/>
                    </a:cubicBezTo>
                    <a:cubicBezTo>
                      <a:pt x="443" y="711"/>
                      <a:pt x="420" y="696"/>
                      <a:pt x="426" y="714"/>
                    </a:cubicBezTo>
                    <a:cubicBezTo>
                      <a:pt x="413" y="711"/>
                      <a:pt x="414" y="733"/>
                      <a:pt x="424" y="736"/>
                    </a:cubicBezTo>
                    <a:cubicBezTo>
                      <a:pt x="424" y="749"/>
                      <a:pt x="435" y="755"/>
                      <a:pt x="441" y="764"/>
                    </a:cubicBezTo>
                    <a:cubicBezTo>
                      <a:pt x="446" y="772"/>
                      <a:pt x="418" y="765"/>
                      <a:pt x="413" y="762"/>
                    </a:cubicBezTo>
                    <a:cubicBezTo>
                      <a:pt x="415" y="749"/>
                      <a:pt x="381" y="768"/>
                      <a:pt x="385" y="757"/>
                    </a:cubicBezTo>
                    <a:cubicBezTo>
                      <a:pt x="378" y="762"/>
                      <a:pt x="368" y="751"/>
                      <a:pt x="366" y="754"/>
                    </a:cubicBezTo>
                    <a:cubicBezTo>
                      <a:pt x="360" y="761"/>
                      <a:pt x="350" y="745"/>
                      <a:pt x="347" y="748"/>
                    </a:cubicBezTo>
                    <a:cubicBezTo>
                      <a:pt x="339" y="741"/>
                      <a:pt x="352" y="719"/>
                      <a:pt x="339" y="720"/>
                    </a:cubicBezTo>
                    <a:cubicBezTo>
                      <a:pt x="324" y="722"/>
                      <a:pt x="320" y="737"/>
                      <a:pt x="307" y="741"/>
                    </a:cubicBezTo>
                    <a:cubicBezTo>
                      <a:pt x="292" y="734"/>
                      <a:pt x="280" y="768"/>
                      <a:pt x="281" y="742"/>
                    </a:cubicBezTo>
                    <a:cubicBezTo>
                      <a:pt x="276" y="735"/>
                      <a:pt x="259" y="749"/>
                      <a:pt x="248" y="747"/>
                    </a:cubicBezTo>
                    <a:cubicBezTo>
                      <a:pt x="239" y="738"/>
                      <a:pt x="224" y="747"/>
                      <a:pt x="221" y="753"/>
                    </a:cubicBezTo>
                    <a:cubicBezTo>
                      <a:pt x="208" y="757"/>
                      <a:pt x="204" y="758"/>
                      <a:pt x="198" y="744"/>
                    </a:cubicBezTo>
                    <a:cubicBezTo>
                      <a:pt x="198" y="730"/>
                      <a:pt x="183" y="746"/>
                      <a:pt x="175" y="738"/>
                    </a:cubicBezTo>
                    <a:cubicBezTo>
                      <a:pt x="165" y="742"/>
                      <a:pt x="162" y="756"/>
                      <a:pt x="158" y="743"/>
                    </a:cubicBezTo>
                    <a:cubicBezTo>
                      <a:pt x="158" y="730"/>
                      <a:pt x="150" y="740"/>
                      <a:pt x="145" y="734"/>
                    </a:cubicBezTo>
                    <a:cubicBezTo>
                      <a:pt x="137" y="739"/>
                      <a:pt x="124" y="725"/>
                      <a:pt x="124" y="720"/>
                    </a:cubicBezTo>
                    <a:cubicBezTo>
                      <a:pt x="117" y="716"/>
                      <a:pt x="114" y="734"/>
                      <a:pt x="108" y="728"/>
                    </a:cubicBezTo>
                    <a:cubicBezTo>
                      <a:pt x="98" y="734"/>
                      <a:pt x="91" y="737"/>
                      <a:pt x="83" y="737"/>
                    </a:cubicBezTo>
                    <a:cubicBezTo>
                      <a:pt x="74" y="731"/>
                      <a:pt x="67" y="727"/>
                      <a:pt x="55" y="737"/>
                    </a:cubicBezTo>
                    <a:close/>
                    <a:moveTo>
                      <a:pt x="805" y="64"/>
                    </a:moveTo>
                    <a:cubicBezTo>
                      <a:pt x="809" y="69"/>
                      <a:pt x="809" y="69"/>
                      <a:pt x="809" y="69"/>
                    </a:cubicBezTo>
                    <a:cubicBezTo>
                      <a:pt x="817" y="65"/>
                      <a:pt x="817" y="65"/>
                      <a:pt x="817" y="65"/>
                    </a:cubicBezTo>
                    <a:cubicBezTo>
                      <a:pt x="830" y="62"/>
                      <a:pt x="830" y="62"/>
                      <a:pt x="830" y="62"/>
                    </a:cubicBezTo>
                    <a:cubicBezTo>
                      <a:pt x="830" y="58"/>
                      <a:pt x="830" y="58"/>
                      <a:pt x="830" y="58"/>
                    </a:cubicBezTo>
                    <a:cubicBezTo>
                      <a:pt x="814" y="34"/>
                      <a:pt x="814" y="34"/>
                      <a:pt x="814" y="34"/>
                    </a:cubicBezTo>
                    <a:cubicBezTo>
                      <a:pt x="806" y="32"/>
                      <a:pt x="806" y="32"/>
                      <a:pt x="806" y="32"/>
                    </a:cubicBezTo>
                    <a:cubicBezTo>
                      <a:pt x="798" y="25"/>
                      <a:pt x="798" y="25"/>
                      <a:pt x="798" y="25"/>
                    </a:cubicBezTo>
                    <a:cubicBezTo>
                      <a:pt x="778" y="30"/>
                      <a:pt x="778" y="30"/>
                      <a:pt x="778" y="30"/>
                    </a:cubicBezTo>
                    <a:cubicBezTo>
                      <a:pt x="768" y="31"/>
                      <a:pt x="768" y="31"/>
                      <a:pt x="768" y="31"/>
                    </a:cubicBezTo>
                    <a:cubicBezTo>
                      <a:pt x="767" y="35"/>
                      <a:pt x="767" y="35"/>
                      <a:pt x="767" y="35"/>
                    </a:cubicBezTo>
                    <a:cubicBezTo>
                      <a:pt x="772" y="39"/>
                      <a:pt x="772" y="39"/>
                      <a:pt x="772" y="39"/>
                    </a:cubicBezTo>
                    <a:cubicBezTo>
                      <a:pt x="775" y="39"/>
                      <a:pt x="775" y="39"/>
                      <a:pt x="775" y="39"/>
                    </a:cubicBezTo>
                    <a:cubicBezTo>
                      <a:pt x="780" y="45"/>
                      <a:pt x="780" y="45"/>
                      <a:pt x="780" y="45"/>
                    </a:cubicBezTo>
                    <a:cubicBezTo>
                      <a:pt x="780" y="50"/>
                      <a:pt x="780" y="50"/>
                      <a:pt x="780" y="50"/>
                    </a:cubicBezTo>
                    <a:cubicBezTo>
                      <a:pt x="794" y="64"/>
                      <a:pt x="794" y="64"/>
                      <a:pt x="794" y="64"/>
                    </a:cubicBezTo>
                    <a:lnTo>
                      <a:pt x="805" y="64"/>
                    </a:lnTo>
                    <a:close/>
                  </a:path>
                </a:pathLst>
              </a:custGeom>
              <a:solidFill>
                <a:srgbClr val="C9C9FF"/>
              </a:solidFill>
              <a:ln w="7938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27F91E3-A750-4E48-AA23-916CA285C63E}"/>
                  </a:ext>
                </a:extLst>
              </p:cNvPr>
              <p:cNvSpPr txBox="1"/>
              <p:nvPr/>
            </p:nvSpPr>
            <p:spPr>
              <a:xfrm>
                <a:off x="10314892" y="1702520"/>
                <a:ext cx="885508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IDA-VIR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1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D81BB3C3-3CA6-4FB3-82FB-01C8DF578A1C}"/>
                  </a:ext>
                </a:extLst>
              </p:cNvPr>
              <p:cNvSpPr txBox="1"/>
              <p:nvPr/>
            </p:nvSpPr>
            <p:spPr>
              <a:xfrm>
                <a:off x="8866437" y="1694727"/>
                <a:ext cx="927266" cy="3920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LÄÄNE-VIR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4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D2F811EC-E602-4718-AB69-932B8709231A}"/>
                  </a:ext>
                </a:extLst>
              </p:cNvPr>
              <p:cNvSpPr txBox="1"/>
              <p:nvPr/>
            </p:nvSpPr>
            <p:spPr>
              <a:xfrm>
                <a:off x="7138715" y="1573973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HARJ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45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450571CF-DED7-458F-A1AC-063719E8DE69}"/>
                  </a:ext>
                </a:extLst>
              </p:cNvPr>
              <p:cNvSpPr txBox="1"/>
              <p:nvPr/>
            </p:nvSpPr>
            <p:spPr>
              <a:xfrm>
                <a:off x="6318953" y="2555256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RAPLA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28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C38F9B3A-FF69-41CB-86E0-B8C1348E577E}"/>
                  </a:ext>
                </a:extLst>
              </p:cNvPr>
              <p:cNvSpPr txBox="1"/>
              <p:nvPr/>
            </p:nvSpPr>
            <p:spPr>
              <a:xfrm>
                <a:off x="7588169" y="4017335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VILJANDI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27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D58B5A61-7D0A-4D0A-9E05-E6466F03F0DD}"/>
                  </a:ext>
                </a:extLst>
              </p:cNvPr>
              <p:cNvSpPr txBox="1"/>
              <p:nvPr/>
            </p:nvSpPr>
            <p:spPr>
              <a:xfrm>
                <a:off x="5739533" y="3510956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ÄRN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6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F2060786-18BD-46B3-A848-A91C57FECF80}"/>
                  </a:ext>
                </a:extLst>
              </p:cNvPr>
              <p:cNvSpPr txBox="1"/>
              <p:nvPr/>
            </p:nvSpPr>
            <p:spPr>
              <a:xfrm>
                <a:off x="3236496" y="3903803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SAARE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0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82B74EE2-2E05-443F-BC43-83559EB8E54D}"/>
                  </a:ext>
                </a:extLst>
              </p:cNvPr>
              <p:cNvSpPr txBox="1"/>
              <p:nvPr/>
            </p:nvSpPr>
            <p:spPr>
              <a:xfrm>
                <a:off x="3459355" y="2632200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HII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9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A37446C7-7803-4EDB-A75A-822A68A0374A}"/>
                  </a:ext>
                </a:extLst>
              </p:cNvPr>
              <p:cNvSpPr txBox="1"/>
              <p:nvPr/>
            </p:nvSpPr>
            <p:spPr>
              <a:xfrm>
                <a:off x="5111969" y="2642591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LÄÄNE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26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BE5EE781-695B-4EE4-8084-B9FFB109A1F2}"/>
                  </a:ext>
                </a:extLst>
              </p:cNvPr>
              <p:cNvSpPr txBox="1"/>
              <p:nvPr/>
            </p:nvSpPr>
            <p:spPr>
              <a:xfrm>
                <a:off x="7764095" y="2675408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JÄRVA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0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D89A02D6-1E14-450B-8B70-8EA09A640DBD}"/>
                  </a:ext>
                </a:extLst>
              </p:cNvPr>
              <p:cNvSpPr txBox="1"/>
              <p:nvPr/>
            </p:nvSpPr>
            <p:spPr>
              <a:xfrm>
                <a:off x="8923993" y="3040006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JÕGEVA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19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5A34C8DA-0139-47DD-BA6E-E908A14371AE}"/>
                  </a:ext>
                </a:extLst>
              </p:cNvPr>
              <p:cNvSpPr txBox="1"/>
              <p:nvPr/>
            </p:nvSpPr>
            <p:spPr>
              <a:xfrm>
                <a:off x="9224089" y="4079277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TARTU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47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7A89CD69-AA08-4A7E-B526-A0B88298B476}"/>
                  </a:ext>
                </a:extLst>
              </p:cNvPr>
              <p:cNvSpPr txBox="1"/>
              <p:nvPr/>
            </p:nvSpPr>
            <p:spPr>
              <a:xfrm>
                <a:off x="9851259" y="4733248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ÕLVA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4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69D78E5D-DCCE-4619-96E1-31ADF65FD0F8}"/>
                  </a:ext>
                </a:extLst>
              </p:cNvPr>
              <p:cNvSpPr txBox="1"/>
              <p:nvPr/>
            </p:nvSpPr>
            <p:spPr>
              <a:xfrm>
                <a:off x="9707934" y="5568864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VÕRU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29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15A5A424-663E-4675-BBF9-134EBD7A0F10}"/>
                  </a:ext>
                </a:extLst>
              </p:cNvPr>
              <p:cNvSpPr txBox="1"/>
              <p:nvPr/>
            </p:nvSpPr>
            <p:spPr>
              <a:xfrm>
                <a:off x="8415215" y="5036305"/>
                <a:ext cx="927266" cy="2613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VALGAMAA</a:t>
                </a:r>
                <a:endParaRPr lang="et-EE" sz="900" dirty="0">
                  <a:solidFill>
                    <a:schemeClr val="bg1"/>
                  </a:solidFill>
                </a:endParaRPr>
              </a:p>
              <a:p>
                <a:pPr algn="ctr">
                  <a:lnSpc>
                    <a:spcPct val="90000"/>
                  </a:lnSpc>
                </a:pPr>
                <a:r>
                  <a:rPr lang="et-EE" sz="900" dirty="0">
                    <a:solidFill>
                      <a:schemeClr val="bg1"/>
                    </a:solidFill>
                  </a:rPr>
                  <a:t>-34%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591D4F8D-3B59-4166-A3EF-157757A880CA}"/>
                </a:ext>
              </a:extLst>
            </p:cNvPr>
            <p:cNvSpPr txBox="1"/>
            <p:nvPr/>
          </p:nvSpPr>
          <p:spPr>
            <a:xfrm>
              <a:off x="5466584" y="1790277"/>
              <a:ext cx="927266" cy="2613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t-EE" sz="900" dirty="0">
                  <a:solidFill>
                    <a:schemeClr val="bg1"/>
                  </a:solidFill>
                </a:rPr>
                <a:t>TALLINN</a:t>
              </a:r>
            </a:p>
            <a:p>
              <a:pPr algn="ctr">
                <a:lnSpc>
                  <a:spcPct val="90000"/>
                </a:lnSpc>
              </a:pPr>
              <a:r>
                <a:rPr lang="et-EE" sz="900" dirty="0">
                  <a:solidFill>
                    <a:schemeClr val="bg1"/>
                  </a:solidFill>
                </a:rPr>
                <a:t>-59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64FA55F-8AF4-4301-BAD6-854D814C4B15}"/>
                </a:ext>
              </a:extLst>
            </p:cNvPr>
            <p:cNvSpPr txBox="1"/>
            <p:nvPr/>
          </p:nvSpPr>
          <p:spPr>
            <a:xfrm>
              <a:off x="5572871" y="4110839"/>
              <a:ext cx="927266" cy="2613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>
                  <a:solidFill>
                    <a:schemeClr val="bg1"/>
                  </a:solidFill>
                </a:rPr>
                <a:t>PÄRNU</a:t>
              </a:r>
              <a:endParaRPr lang="et-EE" sz="900" dirty="0">
                <a:solidFill>
                  <a:schemeClr val="bg1"/>
                </a:solidFill>
              </a:endParaRPr>
            </a:p>
            <a:p>
              <a:pPr algn="ctr">
                <a:lnSpc>
                  <a:spcPct val="90000"/>
                </a:lnSpc>
              </a:pPr>
              <a:r>
                <a:rPr lang="et-EE" sz="900" dirty="0">
                  <a:solidFill>
                    <a:schemeClr val="bg1"/>
                  </a:solidFill>
                </a:rPr>
                <a:t>-38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ECCCB9D-AD4E-4B42-A22A-B46D3FF425ED}"/>
                </a:ext>
              </a:extLst>
            </p:cNvPr>
            <p:cNvSpPr txBox="1"/>
            <p:nvPr/>
          </p:nvSpPr>
          <p:spPr>
            <a:xfrm>
              <a:off x="8732878" y="3904810"/>
              <a:ext cx="795420" cy="2613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>
                  <a:solidFill>
                    <a:schemeClr val="bg1"/>
                  </a:solidFill>
                </a:rPr>
                <a:t>TARTUMAA</a:t>
              </a:r>
              <a:r>
                <a:rPr lang="et-EE" sz="900" dirty="0">
                  <a:solidFill>
                    <a:schemeClr val="bg1"/>
                  </a:solidFill>
                </a:rPr>
                <a:t> -45%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grpSp>
          <p:nvGrpSpPr>
            <p:cNvPr id="67" name="Rühm 112">
              <a:extLst>
                <a:ext uri="{FF2B5EF4-FFF2-40B4-BE49-F238E27FC236}">
                  <a16:creationId xmlns:a16="http://schemas.microsoft.com/office/drawing/2014/main" id="{E2AA73CB-C9A9-48E5-BD7C-EFB9DD2C919B}"/>
                </a:ext>
              </a:extLst>
            </p:cNvPr>
            <p:cNvGrpSpPr/>
            <p:nvPr/>
          </p:nvGrpSpPr>
          <p:grpSpPr>
            <a:xfrm>
              <a:off x="5803094" y="1090256"/>
              <a:ext cx="554038" cy="695325"/>
              <a:chOff x="6151564" y="581026"/>
              <a:chExt cx="554038" cy="695325"/>
            </a:xfrm>
            <a:solidFill>
              <a:srgbClr val="000000"/>
            </a:solidFill>
          </p:grpSpPr>
          <p:sp>
            <p:nvSpPr>
              <p:cNvPr id="68" name="Freeform 66">
                <a:extLst>
                  <a:ext uri="{FF2B5EF4-FFF2-40B4-BE49-F238E27FC236}">
                    <a16:creationId xmlns:a16="http://schemas.microsoft.com/office/drawing/2014/main" id="{A507A82A-85ED-4E43-9241-A4277B41B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1564" y="850901"/>
                <a:ext cx="554038" cy="425450"/>
              </a:xfrm>
              <a:custGeom>
                <a:avLst/>
                <a:gdLst>
                  <a:gd name="T0" fmla="*/ 313 w 320"/>
                  <a:gd name="T1" fmla="*/ 95 h 247"/>
                  <a:gd name="T2" fmla="*/ 307 w 320"/>
                  <a:gd name="T3" fmla="*/ 77 h 247"/>
                  <a:gd name="T4" fmla="*/ 301 w 320"/>
                  <a:gd name="T5" fmla="*/ 59 h 247"/>
                  <a:gd name="T6" fmla="*/ 304 w 320"/>
                  <a:gd name="T7" fmla="*/ 50 h 247"/>
                  <a:gd name="T8" fmla="*/ 309 w 320"/>
                  <a:gd name="T9" fmla="*/ 41 h 247"/>
                  <a:gd name="T10" fmla="*/ 304 w 320"/>
                  <a:gd name="T11" fmla="*/ 36 h 247"/>
                  <a:gd name="T12" fmla="*/ 290 w 320"/>
                  <a:gd name="T13" fmla="*/ 25 h 247"/>
                  <a:gd name="T14" fmla="*/ 277 w 320"/>
                  <a:gd name="T15" fmla="*/ 8 h 247"/>
                  <a:gd name="T16" fmla="*/ 253 w 320"/>
                  <a:gd name="T17" fmla="*/ 5 h 247"/>
                  <a:gd name="T18" fmla="*/ 236 w 320"/>
                  <a:gd name="T19" fmla="*/ 0 h 247"/>
                  <a:gd name="T20" fmla="*/ 240 w 320"/>
                  <a:gd name="T21" fmla="*/ 15 h 247"/>
                  <a:gd name="T22" fmla="*/ 216 w 320"/>
                  <a:gd name="T23" fmla="*/ 81 h 247"/>
                  <a:gd name="T24" fmla="*/ 162 w 320"/>
                  <a:gd name="T25" fmla="*/ 79 h 247"/>
                  <a:gd name="T26" fmla="*/ 131 w 320"/>
                  <a:gd name="T27" fmla="*/ 65 h 247"/>
                  <a:gd name="T28" fmla="*/ 137 w 320"/>
                  <a:gd name="T29" fmla="*/ 27 h 247"/>
                  <a:gd name="T30" fmla="*/ 116 w 320"/>
                  <a:gd name="T31" fmla="*/ 22 h 247"/>
                  <a:gd name="T32" fmla="*/ 96 w 320"/>
                  <a:gd name="T33" fmla="*/ 58 h 247"/>
                  <a:gd name="T34" fmla="*/ 90 w 320"/>
                  <a:gd name="T35" fmla="*/ 66 h 247"/>
                  <a:gd name="T36" fmla="*/ 107 w 320"/>
                  <a:gd name="T37" fmla="*/ 109 h 247"/>
                  <a:gd name="T38" fmla="*/ 49 w 320"/>
                  <a:gd name="T39" fmla="*/ 86 h 247"/>
                  <a:gd name="T40" fmla="*/ 17 w 320"/>
                  <a:gd name="T41" fmla="*/ 70 h 247"/>
                  <a:gd name="T42" fmla="*/ 12 w 320"/>
                  <a:gd name="T43" fmla="*/ 108 h 247"/>
                  <a:gd name="T44" fmla="*/ 33 w 320"/>
                  <a:gd name="T45" fmla="*/ 111 h 247"/>
                  <a:gd name="T46" fmla="*/ 46 w 320"/>
                  <a:gd name="T47" fmla="*/ 116 h 247"/>
                  <a:gd name="T48" fmla="*/ 47 w 320"/>
                  <a:gd name="T49" fmla="*/ 117 h 247"/>
                  <a:gd name="T50" fmla="*/ 48 w 320"/>
                  <a:gd name="T51" fmla="*/ 119 h 247"/>
                  <a:gd name="T52" fmla="*/ 49 w 320"/>
                  <a:gd name="T53" fmla="*/ 121 h 247"/>
                  <a:gd name="T54" fmla="*/ 47 w 320"/>
                  <a:gd name="T55" fmla="*/ 132 h 247"/>
                  <a:gd name="T56" fmla="*/ 53 w 320"/>
                  <a:gd name="T57" fmla="*/ 151 h 247"/>
                  <a:gd name="T58" fmla="*/ 37 w 320"/>
                  <a:gd name="T59" fmla="*/ 175 h 247"/>
                  <a:gd name="T60" fmla="*/ 66 w 320"/>
                  <a:gd name="T61" fmla="*/ 189 h 247"/>
                  <a:gd name="T62" fmla="*/ 60 w 320"/>
                  <a:gd name="T63" fmla="*/ 203 h 247"/>
                  <a:gd name="T64" fmla="*/ 55 w 320"/>
                  <a:gd name="T65" fmla="*/ 225 h 247"/>
                  <a:gd name="T66" fmla="*/ 55 w 320"/>
                  <a:gd name="T67" fmla="*/ 244 h 247"/>
                  <a:gd name="T68" fmla="*/ 57 w 320"/>
                  <a:gd name="T69" fmla="*/ 245 h 247"/>
                  <a:gd name="T70" fmla="*/ 68 w 320"/>
                  <a:gd name="T71" fmla="*/ 247 h 247"/>
                  <a:gd name="T72" fmla="*/ 78 w 320"/>
                  <a:gd name="T73" fmla="*/ 243 h 247"/>
                  <a:gd name="T74" fmla="*/ 104 w 320"/>
                  <a:gd name="T75" fmla="*/ 225 h 247"/>
                  <a:gd name="T76" fmla="*/ 135 w 320"/>
                  <a:gd name="T77" fmla="*/ 225 h 247"/>
                  <a:gd name="T78" fmla="*/ 145 w 320"/>
                  <a:gd name="T79" fmla="*/ 227 h 247"/>
                  <a:gd name="T80" fmla="*/ 171 w 320"/>
                  <a:gd name="T81" fmla="*/ 234 h 247"/>
                  <a:gd name="T82" fmla="*/ 186 w 320"/>
                  <a:gd name="T83" fmla="*/ 233 h 247"/>
                  <a:gd name="T84" fmla="*/ 184 w 320"/>
                  <a:gd name="T85" fmla="*/ 223 h 247"/>
                  <a:gd name="T86" fmla="*/ 187 w 320"/>
                  <a:gd name="T87" fmla="*/ 206 h 247"/>
                  <a:gd name="T88" fmla="*/ 198 w 320"/>
                  <a:gd name="T89" fmla="*/ 199 h 247"/>
                  <a:gd name="T90" fmla="*/ 206 w 320"/>
                  <a:gd name="T91" fmla="*/ 181 h 247"/>
                  <a:gd name="T92" fmla="*/ 207 w 320"/>
                  <a:gd name="T93" fmla="*/ 169 h 247"/>
                  <a:gd name="T94" fmla="*/ 204 w 320"/>
                  <a:gd name="T95" fmla="*/ 161 h 247"/>
                  <a:gd name="T96" fmla="*/ 209 w 320"/>
                  <a:gd name="T97" fmla="*/ 153 h 247"/>
                  <a:gd name="T98" fmla="*/ 222 w 320"/>
                  <a:gd name="T99" fmla="*/ 157 h 247"/>
                  <a:gd name="T100" fmla="*/ 226 w 320"/>
                  <a:gd name="T101" fmla="*/ 154 h 247"/>
                  <a:gd name="T102" fmla="*/ 236 w 320"/>
                  <a:gd name="T103" fmla="*/ 145 h 247"/>
                  <a:gd name="T104" fmla="*/ 257 w 320"/>
                  <a:gd name="T105" fmla="*/ 147 h 247"/>
                  <a:gd name="T106" fmla="*/ 273 w 320"/>
                  <a:gd name="T107" fmla="*/ 143 h 247"/>
                  <a:gd name="T108" fmla="*/ 272 w 320"/>
                  <a:gd name="T109" fmla="*/ 133 h 247"/>
                  <a:gd name="T110" fmla="*/ 276 w 320"/>
                  <a:gd name="T111" fmla="*/ 125 h 247"/>
                  <a:gd name="T112" fmla="*/ 296 w 320"/>
                  <a:gd name="T113" fmla="*/ 117 h 247"/>
                  <a:gd name="T114" fmla="*/ 314 w 320"/>
                  <a:gd name="T115" fmla="*/ 111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20" h="247">
                    <a:moveTo>
                      <a:pt x="319" y="103"/>
                    </a:moveTo>
                    <a:cubicBezTo>
                      <a:pt x="319" y="101"/>
                      <a:pt x="319" y="101"/>
                      <a:pt x="319" y="101"/>
                    </a:cubicBezTo>
                    <a:cubicBezTo>
                      <a:pt x="318" y="99"/>
                      <a:pt x="318" y="99"/>
                      <a:pt x="318" y="99"/>
                    </a:cubicBezTo>
                    <a:cubicBezTo>
                      <a:pt x="317" y="98"/>
                      <a:pt x="317" y="98"/>
                      <a:pt x="317" y="98"/>
                    </a:cubicBezTo>
                    <a:cubicBezTo>
                      <a:pt x="315" y="98"/>
                      <a:pt x="315" y="98"/>
                      <a:pt x="315" y="98"/>
                    </a:cubicBezTo>
                    <a:cubicBezTo>
                      <a:pt x="314" y="97"/>
                      <a:pt x="314" y="97"/>
                      <a:pt x="314" y="97"/>
                    </a:cubicBezTo>
                    <a:cubicBezTo>
                      <a:pt x="313" y="95"/>
                      <a:pt x="313" y="95"/>
                      <a:pt x="313" y="95"/>
                    </a:cubicBezTo>
                    <a:cubicBezTo>
                      <a:pt x="313" y="93"/>
                      <a:pt x="313" y="93"/>
                      <a:pt x="313" y="93"/>
                    </a:cubicBezTo>
                    <a:cubicBezTo>
                      <a:pt x="313" y="91"/>
                      <a:pt x="313" y="91"/>
                      <a:pt x="313" y="91"/>
                    </a:cubicBezTo>
                    <a:cubicBezTo>
                      <a:pt x="311" y="88"/>
                      <a:pt x="311" y="88"/>
                      <a:pt x="311" y="88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08" y="84"/>
                      <a:pt x="308" y="84"/>
                      <a:pt x="308" y="84"/>
                    </a:cubicBezTo>
                    <a:cubicBezTo>
                      <a:pt x="308" y="81"/>
                      <a:pt x="308" y="81"/>
                      <a:pt x="308" y="81"/>
                    </a:cubicBezTo>
                    <a:cubicBezTo>
                      <a:pt x="307" y="77"/>
                      <a:pt x="307" y="77"/>
                      <a:pt x="307" y="77"/>
                    </a:cubicBezTo>
                    <a:cubicBezTo>
                      <a:pt x="307" y="74"/>
                      <a:pt x="307" y="74"/>
                      <a:pt x="307" y="74"/>
                    </a:cubicBezTo>
                    <a:cubicBezTo>
                      <a:pt x="306" y="71"/>
                      <a:pt x="306" y="71"/>
                      <a:pt x="306" y="71"/>
                    </a:cubicBezTo>
                    <a:cubicBezTo>
                      <a:pt x="305" y="69"/>
                      <a:pt x="305" y="69"/>
                      <a:pt x="305" y="69"/>
                    </a:cubicBezTo>
                    <a:cubicBezTo>
                      <a:pt x="302" y="65"/>
                      <a:pt x="302" y="65"/>
                      <a:pt x="302" y="65"/>
                    </a:cubicBezTo>
                    <a:cubicBezTo>
                      <a:pt x="302" y="63"/>
                      <a:pt x="302" y="63"/>
                      <a:pt x="302" y="63"/>
                    </a:cubicBezTo>
                    <a:cubicBezTo>
                      <a:pt x="302" y="63"/>
                      <a:pt x="302" y="63"/>
                      <a:pt x="302" y="63"/>
                    </a:cubicBezTo>
                    <a:cubicBezTo>
                      <a:pt x="301" y="59"/>
                      <a:pt x="301" y="59"/>
                      <a:pt x="301" y="59"/>
                    </a:cubicBezTo>
                    <a:cubicBezTo>
                      <a:pt x="300" y="58"/>
                      <a:pt x="300" y="58"/>
                      <a:pt x="300" y="58"/>
                    </a:cubicBezTo>
                    <a:cubicBezTo>
                      <a:pt x="301" y="56"/>
                      <a:pt x="301" y="56"/>
                      <a:pt x="301" y="56"/>
                    </a:cubicBezTo>
                    <a:cubicBezTo>
                      <a:pt x="301" y="54"/>
                      <a:pt x="301" y="54"/>
                      <a:pt x="301" y="54"/>
                    </a:cubicBezTo>
                    <a:cubicBezTo>
                      <a:pt x="301" y="53"/>
                      <a:pt x="301" y="53"/>
                      <a:pt x="301" y="53"/>
                    </a:cubicBezTo>
                    <a:cubicBezTo>
                      <a:pt x="301" y="51"/>
                      <a:pt x="301" y="51"/>
                      <a:pt x="301" y="51"/>
                    </a:cubicBezTo>
                    <a:cubicBezTo>
                      <a:pt x="303" y="50"/>
                      <a:pt x="303" y="50"/>
                      <a:pt x="303" y="50"/>
                    </a:cubicBezTo>
                    <a:cubicBezTo>
                      <a:pt x="304" y="50"/>
                      <a:pt x="304" y="50"/>
                      <a:pt x="304" y="50"/>
                    </a:cubicBezTo>
                    <a:cubicBezTo>
                      <a:pt x="304" y="48"/>
                      <a:pt x="304" y="48"/>
                      <a:pt x="304" y="48"/>
                    </a:cubicBezTo>
                    <a:cubicBezTo>
                      <a:pt x="310" y="47"/>
                      <a:pt x="310" y="47"/>
                      <a:pt x="310" y="47"/>
                    </a:cubicBezTo>
                    <a:cubicBezTo>
                      <a:pt x="310" y="45"/>
                      <a:pt x="310" y="45"/>
                      <a:pt x="310" y="45"/>
                    </a:cubicBezTo>
                    <a:cubicBezTo>
                      <a:pt x="309" y="44"/>
                      <a:pt x="309" y="44"/>
                      <a:pt x="309" y="44"/>
                    </a:cubicBezTo>
                    <a:cubicBezTo>
                      <a:pt x="309" y="42"/>
                      <a:pt x="309" y="42"/>
                      <a:pt x="309" y="42"/>
                    </a:cubicBezTo>
                    <a:cubicBezTo>
                      <a:pt x="309" y="40"/>
                      <a:pt x="309" y="40"/>
                      <a:pt x="309" y="40"/>
                    </a:cubicBezTo>
                    <a:cubicBezTo>
                      <a:pt x="309" y="41"/>
                      <a:pt x="309" y="41"/>
                      <a:pt x="309" y="41"/>
                    </a:cubicBezTo>
                    <a:cubicBezTo>
                      <a:pt x="308" y="40"/>
                      <a:pt x="308" y="40"/>
                      <a:pt x="308" y="40"/>
                    </a:cubicBezTo>
                    <a:cubicBezTo>
                      <a:pt x="307" y="39"/>
                      <a:pt x="307" y="39"/>
                      <a:pt x="307" y="39"/>
                    </a:cubicBezTo>
                    <a:cubicBezTo>
                      <a:pt x="305" y="38"/>
                      <a:pt x="305" y="38"/>
                      <a:pt x="305" y="38"/>
                    </a:cubicBezTo>
                    <a:cubicBezTo>
                      <a:pt x="304" y="37"/>
                      <a:pt x="304" y="37"/>
                      <a:pt x="304" y="37"/>
                    </a:cubicBezTo>
                    <a:cubicBezTo>
                      <a:pt x="304" y="36"/>
                      <a:pt x="304" y="36"/>
                      <a:pt x="304" y="36"/>
                    </a:cubicBezTo>
                    <a:cubicBezTo>
                      <a:pt x="304" y="35"/>
                      <a:pt x="304" y="35"/>
                      <a:pt x="304" y="35"/>
                    </a:cubicBezTo>
                    <a:cubicBezTo>
                      <a:pt x="304" y="36"/>
                      <a:pt x="304" y="36"/>
                      <a:pt x="304" y="36"/>
                    </a:cubicBezTo>
                    <a:cubicBezTo>
                      <a:pt x="301" y="36"/>
                      <a:pt x="301" y="36"/>
                      <a:pt x="301" y="36"/>
                    </a:cubicBezTo>
                    <a:cubicBezTo>
                      <a:pt x="300" y="34"/>
                      <a:pt x="300" y="34"/>
                      <a:pt x="300" y="34"/>
                    </a:cubicBezTo>
                    <a:cubicBezTo>
                      <a:pt x="297" y="30"/>
                      <a:pt x="297" y="30"/>
                      <a:pt x="297" y="30"/>
                    </a:cubicBezTo>
                    <a:cubicBezTo>
                      <a:pt x="295" y="28"/>
                      <a:pt x="295" y="28"/>
                      <a:pt x="295" y="28"/>
                    </a:cubicBezTo>
                    <a:cubicBezTo>
                      <a:pt x="293" y="26"/>
                      <a:pt x="293" y="26"/>
                      <a:pt x="293" y="26"/>
                    </a:cubicBezTo>
                    <a:cubicBezTo>
                      <a:pt x="292" y="25"/>
                      <a:pt x="292" y="25"/>
                      <a:pt x="292" y="25"/>
                    </a:cubicBezTo>
                    <a:cubicBezTo>
                      <a:pt x="290" y="25"/>
                      <a:pt x="290" y="25"/>
                      <a:pt x="290" y="25"/>
                    </a:cubicBezTo>
                    <a:cubicBezTo>
                      <a:pt x="288" y="23"/>
                      <a:pt x="288" y="23"/>
                      <a:pt x="288" y="23"/>
                    </a:cubicBezTo>
                    <a:cubicBezTo>
                      <a:pt x="286" y="21"/>
                      <a:pt x="286" y="21"/>
                      <a:pt x="286" y="21"/>
                    </a:cubicBezTo>
                    <a:cubicBezTo>
                      <a:pt x="287" y="17"/>
                      <a:pt x="287" y="17"/>
                      <a:pt x="287" y="17"/>
                    </a:cubicBezTo>
                    <a:cubicBezTo>
                      <a:pt x="287" y="12"/>
                      <a:pt x="287" y="12"/>
                      <a:pt x="287" y="12"/>
                    </a:cubicBezTo>
                    <a:cubicBezTo>
                      <a:pt x="283" y="11"/>
                      <a:pt x="283" y="11"/>
                      <a:pt x="283" y="11"/>
                    </a:cubicBezTo>
                    <a:cubicBezTo>
                      <a:pt x="278" y="9"/>
                      <a:pt x="278" y="9"/>
                      <a:pt x="278" y="9"/>
                    </a:cubicBezTo>
                    <a:cubicBezTo>
                      <a:pt x="277" y="8"/>
                      <a:pt x="277" y="8"/>
                      <a:pt x="277" y="8"/>
                    </a:cubicBezTo>
                    <a:cubicBezTo>
                      <a:pt x="274" y="8"/>
                      <a:pt x="274" y="8"/>
                      <a:pt x="274" y="8"/>
                    </a:cubicBezTo>
                    <a:cubicBezTo>
                      <a:pt x="271" y="8"/>
                      <a:pt x="271" y="8"/>
                      <a:pt x="271" y="8"/>
                    </a:cubicBezTo>
                    <a:cubicBezTo>
                      <a:pt x="268" y="7"/>
                      <a:pt x="268" y="7"/>
                      <a:pt x="268" y="7"/>
                    </a:cubicBezTo>
                    <a:cubicBezTo>
                      <a:pt x="260" y="7"/>
                      <a:pt x="260" y="7"/>
                      <a:pt x="260" y="7"/>
                    </a:cubicBezTo>
                    <a:cubicBezTo>
                      <a:pt x="259" y="7"/>
                      <a:pt x="259" y="7"/>
                      <a:pt x="259" y="7"/>
                    </a:cubicBezTo>
                    <a:cubicBezTo>
                      <a:pt x="259" y="7"/>
                      <a:pt x="259" y="7"/>
                      <a:pt x="259" y="7"/>
                    </a:cubicBezTo>
                    <a:cubicBezTo>
                      <a:pt x="253" y="5"/>
                      <a:pt x="253" y="5"/>
                      <a:pt x="253" y="5"/>
                    </a:cubicBezTo>
                    <a:cubicBezTo>
                      <a:pt x="249" y="4"/>
                      <a:pt x="249" y="4"/>
                      <a:pt x="249" y="4"/>
                    </a:cubicBezTo>
                    <a:cubicBezTo>
                      <a:pt x="246" y="4"/>
                      <a:pt x="246" y="4"/>
                      <a:pt x="246" y="4"/>
                    </a:cubicBezTo>
                    <a:cubicBezTo>
                      <a:pt x="240" y="2"/>
                      <a:pt x="240" y="2"/>
                      <a:pt x="240" y="2"/>
                    </a:cubicBezTo>
                    <a:cubicBezTo>
                      <a:pt x="239" y="2"/>
                      <a:pt x="239" y="2"/>
                      <a:pt x="239" y="2"/>
                    </a:cubicBezTo>
                    <a:cubicBezTo>
                      <a:pt x="238" y="1"/>
                      <a:pt x="238" y="1"/>
                      <a:pt x="238" y="1"/>
                    </a:cubicBezTo>
                    <a:cubicBezTo>
                      <a:pt x="237" y="1"/>
                      <a:pt x="237" y="1"/>
                      <a:pt x="237" y="1"/>
                    </a:cubicBezTo>
                    <a:cubicBezTo>
                      <a:pt x="236" y="0"/>
                      <a:pt x="236" y="0"/>
                      <a:pt x="236" y="0"/>
                    </a:cubicBezTo>
                    <a:cubicBezTo>
                      <a:pt x="235" y="1"/>
                      <a:pt x="235" y="1"/>
                      <a:pt x="235" y="1"/>
                    </a:cubicBezTo>
                    <a:cubicBezTo>
                      <a:pt x="234" y="6"/>
                      <a:pt x="234" y="6"/>
                      <a:pt x="234" y="6"/>
                    </a:cubicBezTo>
                    <a:cubicBezTo>
                      <a:pt x="234" y="5"/>
                      <a:pt x="234" y="5"/>
                      <a:pt x="234" y="5"/>
                    </a:cubicBezTo>
                    <a:cubicBezTo>
                      <a:pt x="233" y="6"/>
                      <a:pt x="233" y="6"/>
                      <a:pt x="233" y="6"/>
                    </a:cubicBezTo>
                    <a:cubicBezTo>
                      <a:pt x="232" y="6"/>
                      <a:pt x="232" y="6"/>
                      <a:pt x="232" y="6"/>
                    </a:cubicBezTo>
                    <a:cubicBezTo>
                      <a:pt x="233" y="7"/>
                      <a:pt x="233" y="8"/>
                      <a:pt x="233" y="8"/>
                    </a:cubicBezTo>
                    <a:cubicBezTo>
                      <a:pt x="235" y="11"/>
                      <a:pt x="238" y="12"/>
                      <a:pt x="240" y="15"/>
                    </a:cubicBezTo>
                    <a:cubicBezTo>
                      <a:pt x="245" y="19"/>
                      <a:pt x="243" y="27"/>
                      <a:pt x="241" y="33"/>
                    </a:cubicBezTo>
                    <a:cubicBezTo>
                      <a:pt x="239" y="39"/>
                      <a:pt x="237" y="45"/>
                      <a:pt x="235" y="51"/>
                    </a:cubicBezTo>
                    <a:cubicBezTo>
                      <a:pt x="233" y="52"/>
                      <a:pt x="232" y="53"/>
                      <a:pt x="231" y="54"/>
                    </a:cubicBezTo>
                    <a:cubicBezTo>
                      <a:pt x="230" y="55"/>
                      <a:pt x="230" y="57"/>
                      <a:pt x="229" y="58"/>
                    </a:cubicBezTo>
                    <a:cubicBezTo>
                      <a:pt x="225" y="59"/>
                      <a:pt x="226" y="61"/>
                      <a:pt x="225" y="64"/>
                    </a:cubicBezTo>
                    <a:cubicBezTo>
                      <a:pt x="223" y="67"/>
                      <a:pt x="221" y="69"/>
                      <a:pt x="221" y="72"/>
                    </a:cubicBezTo>
                    <a:cubicBezTo>
                      <a:pt x="220" y="76"/>
                      <a:pt x="218" y="78"/>
                      <a:pt x="216" y="81"/>
                    </a:cubicBezTo>
                    <a:cubicBezTo>
                      <a:pt x="212" y="85"/>
                      <a:pt x="207" y="93"/>
                      <a:pt x="201" y="92"/>
                    </a:cubicBezTo>
                    <a:cubicBezTo>
                      <a:pt x="198" y="91"/>
                      <a:pt x="194" y="89"/>
                      <a:pt x="193" y="87"/>
                    </a:cubicBezTo>
                    <a:cubicBezTo>
                      <a:pt x="191" y="85"/>
                      <a:pt x="191" y="81"/>
                      <a:pt x="188" y="81"/>
                    </a:cubicBezTo>
                    <a:cubicBezTo>
                      <a:pt x="185" y="80"/>
                      <a:pt x="181" y="84"/>
                      <a:pt x="178" y="84"/>
                    </a:cubicBezTo>
                    <a:cubicBezTo>
                      <a:pt x="176" y="84"/>
                      <a:pt x="176" y="83"/>
                      <a:pt x="174" y="84"/>
                    </a:cubicBezTo>
                    <a:cubicBezTo>
                      <a:pt x="172" y="85"/>
                      <a:pt x="172" y="85"/>
                      <a:pt x="169" y="85"/>
                    </a:cubicBezTo>
                    <a:cubicBezTo>
                      <a:pt x="166" y="85"/>
                      <a:pt x="165" y="80"/>
                      <a:pt x="162" y="79"/>
                    </a:cubicBezTo>
                    <a:cubicBezTo>
                      <a:pt x="159" y="77"/>
                      <a:pt x="158" y="75"/>
                      <a:pt x="154" y="76"/>
                    </a:cubicBezTo>
                    <a:cubicBezTo>
                      <a:pt x="151" y="76"/>
                      <a:pt x="147" y="79"/>
                      <a:pt x="145" y="75"/>
                    </a:cubicBezTo>
                    <a:cubicBezTo>
                      <a:pt x="144" y="74"/>
                      <a:pt x="145" y="72"/>
                      <a:pt x="144" y="71"/>
                    </a:cubicBezTo>
                    <a:cubicBezTo>
                      <a:pt x="143" y="70"/>
                      <a:pt x="141" y="68"/>
                      <a:pt x="140" y="67"/>
                    </a:cubicBezTo>
                    <a:cubicBezTo>
                      <a:pt x="138" y="66"/>
                      <a:pt x="133" y="70"/>
                      <a:pt x="131" y="71"/>
                    </a:cubicBezTo>
                    <a:cubicBezTo>
                      <a:pt x="131" y="72"/>
                      <a:pt x="128" y="70"/>
                      <a:pt x="129" y="69"/>
                    </a:cubicBezTo>
                    <a:cubicBezTo>
                      <a:pt x="129" y="68"/>
                      <a:pt x="130" y="66"/>
                      <a:pt x="131" y="65"/>
                    </a:cubicBezTo>
                    <a:cubicBezTo>
                      <a:pt x="131" y="65"/>
                      <a:pt x="133" y="66"/>
                      <a:pt x="134" y="65"/>
                    </a:cubicBezTo>
                    <a:cubicBezTo>
                      <a:pt x="134" y="65"/>
                      <a:pt x="135" y="64"/>
                      <a:pt x="135" y="63"/>
                    </a:cubicBezTo>
                    <a:cubicBezTo>
                      <a:pt x="136" y="62"/>
                      <a:pt x="137" y="60"/>
                      <a:pt x="138" y="59"/>
                    </a:cubicBezTo>
                    <a:cubicBezTo>
                      <a:pt x="139" y="56"/>
                      <a:pt x="141" y="53"/>
                      <a:pt x="142" y="51"/>
                    </a:cubicBezTo>
                    <a:cubicBezTo>
                      <a:pt x="143" y="48"/>
                      <a:pt x="146" y="45"/>
                      <a:pt x="147" y="42"/>
                    </a:cubicBezTo>
                    <a:cubicBezTo>
                      <a:pt x="147" y="39"/>
                      <a:pt x="143" y="37"/>
                      <a:pt x="141" y="36"/>
                    </a:cubicBezTo>
                    <a:cubicBezTo>
                      <a:pt x="137" y="35"/>
                      <a:pt x="138" y="30"/>
                      <a:pt x="137" y="27"/>
                    </a:cubicBezTo>
                    <a:cubicBezTo>
                      <a:pt x="137" y="26"/>
                      <a:pt x="135" y="24"/>
                      <a:pt x="135" y="22"/>
                    </a:cubicBezTo>
                    <a:cubicBezTo>
                      <a:pt x="134" y="21"/>
                      <a:pt x="134" y="19"/>
                      <a:pt x="133" y="18"/>
                    </a:cubicBezTo>
                    <a:cubicBezTo>
                      <a:pt x="132" y="14"/>
                      <a:pt x="132" y="21"/>
                      <a:pt x="132" y="22"/>
                    </a:cubicBezTo>
                    <a:cubicBezTo>
                      <a:pt x="132" y="25"/>
                      <a:pt x="132" y="29"/>
                      <a:pt x="131" y="32"/>
                    </a:cubicBezTo>
                    <a:cubicBezTo>
                      <a:pt x="129" y="30"/>
                      <a:pt x="128" y="29"/>
                      <a:pt x="126" y="28"/>
                    </a:cubicBezTo>
                    <a:cubicBezTo>
                      <a:pt x="126" y="28"/>
                      <a:pt x="122" y="28"/>
                      <a:pt x="121" y="28"/>
                    </a:cubicBezTo>
                    <a:cubicBezTo>
                      <a:pt x="120" y="27"/>
                      <a:pt x="119" y="19"/>
                      <a:pt x="116" y="22"/>
                    </a:cubicBezTo>
                    <a:cubicBezTo>
                      <a:pt x="111" y="26"/>
                      <a:pt x="116" y="37"/>
                      <a:pt x="119" y="39"/>
                    </a:cubicBezTo>
                    <a:cubicBezTo>
                      <a:pt x="120" y="36"/>
                      <a:pt x="124" y="41"/>
                      <a:pt x="124" y="43"/>
                    </a:cubicBezTo>
                    <a:cubicBezTo>
                      <a:pt x="125" y="45"/>
                      <a:pt x="124" y="48"/>
                      <a:pt x="124" y="51"/>
                    </a:cubicBezTo>
                    <a:cubicBezTo>
                      <a:pt x="124" y="55"/>
                      <a:pt x="124" y="58"/>
                      <a:pt x="119" y="58"/>
                    </a:cubicBezTo>
                    <a:cubicBezTo>
                      <a:pt x="117" y="59"/>
                      <a:pt x="118" y="56"/>
                      <a:pt x="115" y="58"/>
                    </a:cubicBezTo>
                    <a:cubicBezTo>
                      <a:pt x="114" y="58"/>
                      <a:pt x="113" y="59"/>
                      <a:pt x="112" y="59"/>
                    </a:cubicBezTo>
                    <a:cubicBezTo>
                      <a:pt x="106" y="61"/>
                      <a:pt x="101" y="61"/>
                      <a:pt x="96" y="58"/>
                    </a:cubicBezTo>
                    <a:cubicBezTo>
                      <a:pt x="95" y="57"/>
                      <a:pt x="95" y="55"/>
                      <a:pt x="94" y="54"/>
                    </a:cubicBezTo>
                    <a:cubicBezTo>
                      <a:pt x="92" y="53"/>
                      <a:pt x="90" y="53"/>
                      <a:pt x="89" y="53"/>
                    </a:cubicBezTo>
                    <a:cubicBezTo>
                      <a:pt x="86" y="53"/>
                      <a:pt x="85" y="51"/>
                      <a:pt x="83" y="49"/>
                    </a:cubicBezTo>
                    <a:cubicBezTo>
                      <a:pt x="81" y="47"/>
                      <a:pt x="81" y="54"/>
                      <a:pt x="81" y="56"/>
                    </a:cubicBezTo>
                    <a:cubicBezTo>
                      <a:pt x="80" y="58"/>
                      <a:pt x="81" y="60"/>
                      <a:pt x="81" y="62"/>
                    </a:cubicBezTo>
                    <a:cubicBezTo>
                      <a:pt x="81" y="64"/>
                      <a:pt x="83" y="64"/>
                      <a:pt x="84" y="65"/>
                    </a:cubicBezTo>
                    <a:cubicBezTo>
                      <a:pt x="85" y="66"/>
                      <a:pt x="89" y="65"/>
                      <a:pt x="90" y="66"/>
                    </a:cubicBezTo>
                    <a:cubicBezTo>
                      <a:pt x="92" y="66"/>
                      <a:pt x="93" y="67"/>
                      <a:pt x="95" y="69"/>
                    </a:cubicBezTo>
                    <a:cubicBezTo>
                      <a:pt x="98" y="71"/>
                      <a:pt x="93" y="76"/>
                      <a:pt x="96" y="78"/>
                    </a:cubicBezTo>
                    <a:cubicBezTo>
                      <a:pt x="97" y="77"/>
                      <a:pt x="98" y="75"/>
                      <a:pt x="100" y="74"/>
                    </a:cubicBezTo>
                    <a:cubicBezTo>
                      <a:pt x="101" y="75"/>
                      <a:pt x="102" y="79"/>
                      <a:pt x="103" y="80"/>
                    </a:cubicBezTo>
                    <a:cubicBezTo>
                      <a:pt x="105" y="81"/>
                      <a:pt x="108" y="81"/>
                      <a:pt x="110" y="82"/>
                    </a:cubicBezTo>
                    <a:cubicBezTo>
                      <a:pt x="115" y="84"/>
                      <a:pt x="113" y="92"/>
                      <a:pt x="113" y="96"/>
                    </a:cubicBezTo>
                    <a:cubicBezTo>
                      <a:pt x="113" y="102"/>
                      <a:pt x="110" y="105"/>
                      <a:pt x="107" y="109"/>
                    </a:cubicBezTo>
                    <a:cubicBezTo>
                      <a:pt x="105" y="111"/>
                      <a:pt x="105" y="114"/>
                      <a:pt x="103" y="113"/>
                    </a:cubicBezTo>
                    <a:cubicBezTo>
                      <a:pt x="102" y="112"/>
                      <a:pt x="98" y="115"/>
                      <a:pt x="98" y="116"/>
                    </a:cubicBezTo>
                    <a:cubicBezTo>
                      <a:pt x="96" y="121"/>
                      <a:pt x="87" y="115"/>
                      <a:pt x="85" y="113"/>
                    </a:cubicBezTo>
                    <a:cubicBezTo>
                      <a:pt x="81" y="109"/>
                      <a:pt x="78" y="105"/>
                      <a:pt x="73" y="103"/>
                    </a:cubicBezTo>
                    <a:cubicBezTo>
                      <a:pt x="69" y="100"/>
                      <a:pt x="65" y="96"/>
                      <a:pt x="61" y="93"/>
                    </a:cubicBezTo>
                    <a:cubicBezTo>
                      <a:pt x="59" y="91"/>
                      <a:pt x="57" y="89"/>
                      <a:pt x="55" y="87"/>
                    </a:cubicBezTo>
                    <a:cubicBezTo>
                      <a:pt x="53" y="86"/>
                      <a:pt x="51" y="86"/>
                      <a:pt x="49" y="86"/>
                    </a:cubicBezTo>
                    <a:cubicBezTo>
                      <a:pt x="46" y="84"/>
                      <a:pt x="43" y="82"/>
                      <a:pt x="41" y="80"/>
                    </a:cubicBezTo>
                    <a:cubicBezTo>
                      <a:pt x="38" y="78"/>
                      <a:pt x="37" y="76"/>
                      <a:pt x="35" y="74"/>
                    </a:cubicBezTo>
                    <a:cubicBezTo>
                      <a:pt x="33" y="72"/>
                      <a:pt x="31" y="68"/>
                      <a:pt x="29" y="67"/>
                    </a:cubicBezTo>
                    <a:cubicBezTo>
                      <a:pt x="25" y="65"/>
                      <a:pt x="23" y="68"/>
                      <a:pt x="20" y="64"/>
                    </a:cubicBezTo>
                    <a:cubicBezTo>
                      <a:pt x="19" y="62"/>
                      <a:pt x="20" y="62"/>
                      <a:pt x="18" y="62"/>
                    </a:cubicBezTo>
                    <a:cubicBezTo>
                      <a:pt x="17" y="61"/>
                      <a:pt x="15" y="62"/>
                      <a:pt x="15" y="63"/>
                    </a:cubicBezTo>
                    <a:cubicBezTo>
                      <a:pt x="14" y="65"/>
                      <a:pt x="17" y="69"/>
                      <a:pt x="17" y="70"/>
                    </a:cubicBezTo>
                    <a:cubicBezTo>
                      <a:pt x="19" y="73"/>
                      <a:pt x="24" y="83"/>
                      <a:pt x="22" y="86"/>
                    </a:cubicBezTo>
                    <a:cubicBezTo>
                      <a:pt x="18" y="91"/>
                      <a:pt x="13" y="96"/>
                      <a:pt x="8" y="99"/>
                    </a:cubicBezTo>
                    <a:cubicBezTo>
                      <a:pt x="5" y="100"/>
                      <a:pt x="3" y="102"/>
                      <a:pt x="0" y="103"/>
                    </a:cubicBezTo>
                    <a:cubicBezTo>
                      <a:pt x="6" y="110"/>
                      <a:pt x="6" y="110"/>
                      <a:pt x="6" y="110"/>
                    </a:cubicBezTo>
                    <a:cubicBezTo>
                      <a:pt x="9" y="112"/>
                      <a:pt x="9" y="112"/>
                      <a:pt x="9" y="112"/>
                    </a:cubicBezTo>
                    <a:cubicBezTo>
                      <a:pt x="11" y="109"/>
                      <a:pt x="11" y="109"/>
                      <a:pt x="11" y="109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3" y="107"/>
                      <a:pt x="13" y="107"/>
                      <a:pt x="13" y="107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7" y="105"/>
                      <a:pt x="17" y="105"/>
                      <a:pt x="17" y="105"/>
                    </a:cubicBezTo>
                    <a:cubicBezTo>
                      <a:pt x="19" y="105"/>
                      <a:pt x="19" y="105"/>
                      <a:pt x="19" y="105"/>
                    </a:cubicBezTo>
                    <a:cubicBezTo>
                      <a:pt x="22" y="105"/>
                      <a:pt x="22" y="105"/>
                      <a:pt x="22" y="105"/>
                    </a:cubicBezTo>
                    <a:cubicBezTo>
                      <a:pt x="25" y="107"/>
                      <a:pt x="25" y="107"/>
                      <a:pt x="25" y="107"/>
                    </a:cubicBezTo>
                    <a:cubicBezTo>
                      <a:pt x="33" y="111"/>
                      <a:pt x="33" y="111"/>
                      <a:pt x="33" y="111"/>
                    </a:cubicBezTo>
                    <a:cubicBezTo>
                      <a:pt x="37" y="113"/>
                      <a:pt x="37" y="113"/>
                      <a:pt x="37" y="113"/>
                    </a:cubicBezTo>
                    <a:cubicBezTo>
                      <a:pt x="40" y="113"/>
                      <a:pt x="40" y="113"/>
                      <a:pt x="40" y="113"/>
                    </a:cubicBezTo>
                    <a:cubicBezTo>
                      <a:pt x="44" y="115"/>
                      <a:pt x="44" y="115"/>
                      <a:pt x="44" y="115"/>
                    </a:cubicBezTo>
                    <a:cubicBezTo>
                      <a:pt x="45" y="115"/>
                      <a:pt x="45" y="115"/>
                      <a:pt x="45" y="115"/>
                    </a:cubicBezTo>
                    <a:cubicBezTo>
                      <a:pt x="45" y="115"/>
                      <a:pt x="45" y="115"/>
                      <a:pt x="45" y="115"/>
                    </a:cubicBezTo>
                    <a:cubicBezTo>
                      <a:pt x="45" y="115"/>
                      <a:pt x="45" y="115"/>
                      <a:pt x="45" y="115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6"/>
                      <a:pt x="46" y="116"/>
                      <a:pt x="46" y="116"/>
                    </a:cubicBezTo>
                    <a:cubicBezTo>
                      <a:pt x="46" y="117"/>
                      <a:pt x="46" y="117"/>
                      <a:pt x="46" y="117"/>
                    </a:cubicBezTo>
                    <a:cubicBezTo>
                      <a:pt x="46" y="117"/>
                      <a:pt x="46" y="117"/>
                      <a:pt x="46" y="117"/>
                    </a:cubicBezTo>
                    <a:cubicBezTo>
                      <a:pt x="46" y="117"/>
                      <a:pt x="46" y="117"/>
                      <a:pt x="46" y="117"/>
                    </a:cubicBezTo>
                    <a:cubicBezTo>
                      <a:pt x="47" y="117"/>
                      <a:pt x="47" y="117"/>
                      <a:pt x="47" y="117"/>
                    </a:cubicBezTo>
                    <a:cubicBezTo>
                      <a:pt x="47" y="117"/>
                      <a:pt x="47" y="117"/>
                      <a:pt x="47" y="117"/>
                    </a:cubicBezTo>
                    <a:cubicBezTo>
                      <a:pt x="47" y="118"/>
                      <a:pt x="47" y="118"/>
                      <a:pt x="47" y="118"/>
                    </a:cubicBezTo>
                    <a:cubicBezTo>
                      <a:pt x="47" y="118"/>
                      <a:pt x="47" y="118"/>
                      <a:pt x="47" y="118"/>
                    </a:cubicBezTo>
                    <a:cubicBezTo>
                      <a:pt x="47" y="118"/>
                      <a:pt x="47" y="118"/>
                      <a:pt x="47" y="118"/>
                    </a:cubicBezTo>
                    <a:cubicBezTo>
                      <a:pt x="47" y="119"/>
                      <a:pt x="47" y="119"/>
                      <a:pt x="47" y="119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8" y="119"/>
                      <a:pt x="48" y="119"/>
                      <a:pt x="48" y="119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50" y="121"/>
                      <a:pt x="50" y="121"/>
                      <a:pt x="50" y="121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49" y="125"/>
                      <a:pt x="49" y="125"/>
                      <a:pt x="49" y="125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7" y="127"/>
                      <a:pt x="47" y="127"/>
                      <a:pt x="47" y="127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36"/>
                      <a:pt x="46" y="136"/>
                      <a:pt x="46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6" y="142"/>
                      <a:pt x="46" y="142"/>
                      <a:pt x="46" y="142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0" y="148"/>
                      <a:pt x="50" y="148"/>
                      <a:pt x="50" y="148"/>
                    </a:cubicBezTo>
                    <a:cubicBezTo>
                      <a:pt x="53" y="151"/>
                      <a:pt x="53" y="151"/>
                      <a:pt x="53" y="151"/>
                    </a:cubicBezTo>
                    <a:cubicBezTo>
                      <a:pt x="57" y="152"/>
                      <a:pt x="57" y="152"/>
                      <a:pt x="57" y="152"/>
                    </a:cubicBezTo>
                    <a:cubicBezTo>
                      <a:pt x="58" y="155"/>
                      <a:pt x="58" y="155"/>
                      <a:pt x="58" y="155"/>
                    </a:cubicBezTo>
                    <a:cubicBezTo>
                      <a:pt x="55" y="157"/>
                      <a:pt x="55" y="157"/>
                      <a:pt x="55" y="157"/>
                    </a:cubicBezTo>
                    <a:cubicBezTo>
                      <a:pt x="49" y="165"/>
                      <a:pt x="49" y="165"/>
                      <a:pt x="49" y="165"/>
                    </a:cubicBezTo>
                    <a:cubicBezTo>
                      <a:pt x="46" y="168"/>
                      <a:pt x="46" y="168"/>
                      <a:pt x="46" y="168"/>
                    </a:cubicBezTo>
                    <a:cubicBezTo>
                      <a:pt x="42" y="170"/>
                      <a:pt x="42" y="170"/>
                      <a:pt x="42" y="170"/>
                    </a:cubicBezTo>
                    <a:cubicBezTo>
                      <a:pt x="37" y="175"/>
                      <a:pt x="37" y="175"/>
                      <a:pt x="37" y="175"/>
                    </a:cubicBezTo>
                    <a:cubicBezTo>
                      <a:pt x="47" y="180"/>
                      <a:pt x="47" y="180"/>
                      <a:pt x="47" y="180"/>
                    </a:cubicBezTo>
                    <a:cubicBezTo>
                      <a:pt x="52" y="182"/>
                      <a:pt x="52" y="182"/>
                      <a:pt x="52" y="182"/>
                    </a:cubicBezTo>
                    <a:cubicBezTo>
                      <a:pt x="55" y="184"/>
                      <a:pt x="55" y="184"/>
                      <a:pt x="55" y="184"/>
                    </a:cubicBezTo>
                    <a:cubicBezTo>
                      <a:pt x="58" y="185"/>
                      <a:pt x="58" y="185"/>
                      <a:pt x="58" y="185"/>
                    </a:cubicBezTo>
                    <a:cubicBezTo>
                      <a:pt x="58" y="185"/>
                      <a:pt x="58" y="185"/>
                      <a:pt x="58" y="185"/>
                    </a:cubicBezTo>
                    <a:cubicBezTo>
                      <a:pt x="61" y="186"/>
                      <a:pt x="61" y="186"/>
                      <a:pt x="61" y="186"/>
                    </a:cubicBezTo>
                    <a:cubicBezTo>
                      <a:pt x="66" y="189"/>
                      <a:pt x="66" y="189"/>
                      <a:pt x="66" y="189"/>
                    </a:cubicBezTo>
                    <a:cubicBezTo>
                      <a:pt x="67" y="189"/>
                      <a:pt x="67" y="189"/>
                      <a:pt x="67" y="189"/>
                    </a:cubicBezTo>
                    <a:cubicBezTo>
                      <a:pt x="66" y="190"/>
                      <a:pt x="66" y="190"/>
                      <a:pt x="66" y="190"/>
                    </a:cubicBezTo>
                    <a:cubicBezTo>
                      <a:pt x="62" y="190"/>
                      <a:pt x="62" y="190"/>
                      <a:pt x="62" y="190"/>
                    </a:cubicBezTo>
                    <a:cubicBezTo>
                      <a:pt x="61" y="196"/>
                      <a:pt x="61" y="196"/>
                      <a:pt x="61" y="196"/>
                    </a:cubicBezTo>
                    <a:cubicBezTo>
                      <a:pt x="61" y="199"/>
                      <a:pt x="61" y="199"/>
                      <a:pt x="61" y="199"/>
                    </a:cubicBezTo>
                    <a:cubicBezTo>
                      <a:pt x="60" y="200"/>
                      <a:pt x="60" y="200"/>
                      <a:pt x="60" y="200"/>
                    </a:cubicBezTo>
                    <a:cubicBezTo>
                      <a:pt x="60" y="203"/>
                      <a:pt x="60" y="203"/>
                      <a:pt x="60" y="203"/>
                    </a:cubicBezTo>
                    <a:cubicBezTo>
                      <a:pt x="59" y="204"/>
                      <a:pt x="59" y="204"/>
                      <a:pt x="59" y="204"/>
                    </a:cubicBezTo>
                    <a:cubicBezTo>
                      <a:pt x="59" y="208"/>
                      <a:pt x="59" y="208"/>
                      <a:pt x="59" y="208"/>
                    </a:cubicBezTo>
                    <a:cubicBezTo>
                      <a:pt x="58" y="210"/>
                      <a:pt x="58" y="210"/>
                      <a:pt x="58" y="210"/>
                    </a:cubicBezTo>
                    <a:cubicBezTo>
                      <a:pt x="57" y="214"/>
                      <a:pt x="57" y="214"/>
                      <a:pt x="57" y="214"/>
                    </a:cubicBezTo>
                    <a:cubicBezTo>
                      <a:pt x="57" y="217"/>
                      <a:pt x="57" y="217"/>
                      <a:pt x="57" y="217"/>
                    </a:cubicBezTo>
                    <a:cubicBezTo>
                      <a:pt x="56" y="221"/>
                      <a:pt x="56" y="221"/>
                      <a:pt x="56" y="221"/>
                    </a:cubicBezTo>
                    <a:cubicBezTo>
                      <a:pt x="55" y="225"/>
                      <a:pt x="55" y="225"/>
                      <a:pt x="55" y="225"/>
                    </a:cubicBezTo>
                    <a:cubicBezTo>
                      <a:pt x="54" y="228"/>
                      <a:pt x="54" y="228"/>
                      <a:pt x="54" y="228"/>
                    </a:cubicBezTo>
                    <a:cubicBezTo>
                      <a:pt x="54" y="232"/>
                      <a:pt x="54" y="232"/>
                      <a:pt x="54" y="232"/>
                    </a:cubicBez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7"/>
                      <a:pt x="53" y="237"/>
                      <a:pt x="53" y="237"/>
                    </a:cubicBezTo>
                    <a:cubicBezTo>
                      <a:pt x="52" y="241"/>
                      <a:pt x="52" y="241"/>
                      <a:pt x="52" y="241"/>
                    </a:cubicBezTo>
                    <a:cubicBezTo>
                      <a:pt x="54" y="241"/>
                      <a:pt x="54" y="241"/>
                      <a:pt x="54" y="241"/>
                    </a:cubicBezTo>
                    <a:cubicBezTo>
                      <a:pt x="55" y="244"/>
                      <a:pt x="55" y="244"/>
                      <a:pt x="55" y="244"/>
                    </a:cubicBezTo>
                    <a:cubicBezTo>
                      <a:pt x="54" y="244"/>
                      <a:pt x="54" y="244"/>
                      <a:pt x="54" y="244"/>
                    </a:cubicBezTo>
                    <a:cubicBezTo>
                      <a:pt x="53" y="244"/>
                      <a:pt x="53" y="244"/>
                      <a:pt x="53" y="244"/>
                    </a:cubicBezTo>
                    <a:cubicBezTo>
                      <a:pt x="53" y="246"/>
                      <a:pt x="53" y="246"/>
                      <a:pt x="53" y="246"/>
                    </a:cubicBezTo>
                    <a:cubicBezTo>
                      <a:pt x="53" y="247"/>
                      <a:pt x="53" y="247"/>
                      <a:pt x="53" y="247"/>
                    </a:cubicBezTo>
                    <a:cubicBezTo>
                      <a:pt x="55" y="247"/>
                      <a:pt x="55" y="247"/>
                      <a:pt x="55" y="247"/>
                    </a:cubicBezTo>
                    <a:cubicBezTo>
                      <a:pt x="56" y="246"/>
                      <a:pt x="56" y="246"/>
                      <a:pt x="56" y="246"/>
                    </a:cubicBezTo>
                    <a:cubicBezTo>
                      <a:pt x="57" y="245"/>
                      <a:pt x="57" y="245"/>
                      <a:pt x="57" y="245"/>
                    </a:cubicBezTo>
                    <a:cubicBezTo>
                      <a:pt x="58" y="245"/>
                      <a:pt x="58" y="245"/>
                      <a:pt x="58" y="245"/>
                    </a:cubicBezTo>
                    <a:cubicBezTo>
                      <a:pt x="59" y="244"/>
                      <a:pt x="59" y="244"/>
                      <a:pt x="59" y="244"/>
                    </a:cubicBezTo>
                    <a:cubicBezTo>
                      <a:pt x="61" y="245"/>
                      <a:pt x="61" y="245"/>
                      <a:pt x="61" y="245"/>
                    </a:cubicBezTo>
                    <a:cubicBezTo>
                      <a:pt x="62" y="245"/>
                      <a:pt x="62" y="245"/>
                      <a:pt x="62" y="245"/>
                    </a:cubicBezTo>
                    <a:cubicBezTo>
                      <a:pt x="63" y="247"/>
                      <a:pt x="63" y="247"/>
                      <a:pt x="63" y="247"/>
                    </a:cubicBezTo>
                    <a:cubicBezTo>
                      <a:pt x="65" y="247"/>
                      <a:pt x="65" y="247"/>
                      <a:pt x="65" y="247"/>
                    </a:cubicBezTo>
                    <a:cubicBezTo>
                      <a:pt x="68" y="247"/>
                      <a:pt x="68" y="247"/>
                      <a:pt x="68" y="247"/>
                    </a:cubicBezTo>
                    <a:cubicBezTo>
                      <a:pt x="69" y="247"/>
                      <a:pt x="69" y="247"/>
                      <a:pt x="69" y="247"/>
                    </a:cubicBezTo>
                    <a:cubicBezTo>
                      <a:pt x="72" y="245"/>
                      <a:pt x="72" y="245"/>
                      <a:pt x="72" y="245"/>
                    </a:cubicBezTo>
                    <a:cubicBezTo>
                      <a:pt x="73" y="244"/>
                      <a:pt x="73" y="244"/>
                      <a:pt x="73" y="244"/>
                    </a:cubicBezTo>
                    <a:cubicBezTo>
                      <a:pt x="76" y="245"/>
                      <a:pt x="76" y="245"/>
                      <a:pt x="76" y="245"/>
                    </a:cubicBezTo>
                    <a:cubicBezTo>
                      <a:pt x="76" y="245"/>
                      <a:pt x="76" y="245"/>
                      <a:pt x="76" y="245"/>
                    </a:cubicBezTo>
                    <a:cubicBezTo>
                      <a:pt x="77" y="245"/>
                      <a:pt x="77" y="245"/>
                      <a:pt x="77" y="245"/>
                    </a:cubicBezTo>
                    <a:cubicBezTo>
                      <a:pt x="78" y="243"/>
                      <a:pt x="78" y="243"/>
                      <a:pt x="78" y="243"/>
                    </a:cubicBezTo>
                    <a:cubicBezTo>
                      <a:pt x="80" y="242"/>
                      <a:pt x="80" y="242"/>
                      <a:pt x="80" y="242"/>
                    </a:cubicBezTo>
                    <a:cubicBezTo>
                      <a:pt x="81" y="242"/>
                      <a:pt x="81" y="242"/>
                      <a:pt x="81" y="242"/>
                    </a:cubicBezTo>
                    <a:cubicBezTo>
                      <a:pt x="84" y="243"/>
                      <a:pt x="84" y="243"/>
                      <a:pt x="84" y="243"/>
                    </a:cubicBezTo>
                    <a:cubicBezTo>
                      <a:pt x="87" y="240"/>
                      <a:pt x="87" y="240"/>
                      <a:pt x="87" y="240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93" y="229"/>
                      <a:pt x="93" y="229"/>
                      <a:pt x="93" y="229"/>
                    </a:cubicBezTo>
                    <a:cubicBezTo>
                      <a:pt x="104" y="225"/>
                      <a:pt x="104" y="225"/>
                      <a:pt x="104" y="225"/>
                    </a:cubicBezTo>
                    <a:cubicBezTo>
                      <a:pt x="120" y="236"/>
                      <a:pt x="120" y="236"/>
                      <a:pt x="120" y="236"/>
                    </a:cubicBezTo>
                    <a:cubicBezTo>
                      <a:pt x="123" y="238"/>
                      <a:pt x="123" y="238"/>
                      <a:pt x="123" y="238"/>
                    </a:cubicBezTo>
                    <a:cubicBezTo>
                      <a:pt x="125" y="240"/>
                      <a:pt x="125" y="240"/>
                      <a:pt x="125" y="240"/>
                    </a:cubicBezTo>
                    <a:cubicBezTo>
                      <a:pt x="126" y="237"/>
                      <a:pt x="126" y="237"/>
                      <a:pt x="126" y="237"/>
                    </a:cubicBezTo>
                    <a:cubicBezTo>
                      <a:pt x="130" y="230"/>
                      <a:pt x="130" y="230"/>
                      <a:pt x="130" y="230"/>
                    </a:cubicBezTo>
                    <a:cubicBezTo>
                      <a:pt x="134" y="226"/>
                      <a:pt x="134" y="226"/>
                      <a:pt x="134" y="226"/>
                    </a:cubicBezTo>
                    <a:cubicBezTo>
                      <a:pt x="135" y="225"/>
                      <a:pt x="135" y="225"/>
                      <a:pt x="135" y="225"/>
                    </a:cubicBezTo>
                    <a:cubicBezTo>
                      <a:pt x="136" y="226"/>
                      <a:pt x="136" y="226"/>
                      <a:pt x="136" y="226"/>
                    </a:cubicBezTo>
                    <a:cubicBezTo>
                      <a:pt x="140" y="228"/>
                      <a:pt x="140" y="228"/>
                      <a:pt x="140" y="228"/>
                    </a:cubicBezTo>
                    <a:cubicBezTo>
                      <a:pt x="141" y="226"/>
                      <a:pt x="141" y="226"/>
                      <a:pt x="141" y="226"/>
                    </a:cubicBezTo>
                    <a:cubicBezTo>
                      <a:pt x="142" y="226"/>
                      <a:pt x="142" y="226"/>
                      <a:pt x="142" y="226"/>
                    </a:cubicBezTo>
                    <a:cubicBezTo>
                      <a:pt x="143" y="226"/>
                      <a:pt x="143" y="226"/>
                      <a:pt x="143" y="226"/>
                    </a:cubicBezTo>
                    <a:cubicBezTo>
                      <a:pt x="144" y="226"/>
                      <a:pt x="144" y="226"/>
                      <a:pt x="144" y="226"/>
                    </a:cubicBezTo>
                    <a:cubicBezTo>
                      <a:pt x="145" y="227"/>
                      <a:pt x="145" y="227"/>
                      <a:pt x="145" y="227"/>
                    </a:cubicBezTo>
                    <a:cubicBezTo>
                      <a:pt x="143" y="230"/>
                      <a:pt x="143" y="230"/>
                      <a:pt x="143" y="230"/>
                    </a:cubicBezTo>
                    <a:cubicBezTo>
                      <a:pt x="142" y="233"/>
                      <a:pt x="142" y="233"/>
                      <a:pt x="142" y="233"/>
                    </a:cubicBezTo>
                    <a:cubicBezTo>
                      <a:pt x="141" y="237"/>
                      <a:pt x="141" y="237"/>
                      <a:pt x="141" y="237"/>
                    </a:cubicBezTo>
                    <a:cubicBezTo>
                      <a:pt x="148" y="236"/>
                      <a:pt x="148" y="236"/>
                      <a:pt x="148" y="236"/>
                    </a:cubicBezTo>
                    <a:cubicBezTo>
                      <a:pt x="156" y="236"/>
                      <a:pt x="156" y="236"/>
                      <a:pt x="156" y="236"/>
                    </a:cubicBezTo>
                    <a:cubicBezTo>
                      <a:pt x="163" y="235"/>
                      <a:pt x="163" y="235"/>
                      <a:pt x="163" y="235"/>
                    </a:cubicBezTo>
                    <a:cubicBezTo>
                      <a:pt x="171" y="234"/>
                      <a:pt x="171" y="234"/>
                      <a:pt x="171" y="234"/>
                    </a:cubicBezTo>
                    <a:cubicBezTo>
                      <a:pt x="171" y="234"/>
                      <a:pt x="171" y="234"/>
                      <a:pt x="171" y="234"/>
                    </a:cubicBezTo>
                    <a:cubicBezTo>
                      <a:pt x="174" y="234"/>
                      <a:pt x="174" y="234"/>
                      <a:pt x="174" y="234"/>
                    </a:cubicBezTo>
                    <a:cubicBezTo>
                      <a:pt x="179" y="234"/>
                      <a:pt x="179" y="234"/>
                      <a:pt x="179" y="234"/>
                    </a:cubicBezTo>
                    <a:cubicBezTo>
                      <a:pt x="182" y="233"/>
                      <a:pt x="182" y="233"/>
                      <a:pt x="182" y="233"/>
                    </a:cubicBezTo>
                    <a:cubicBezTo>
                      <a:pt x="183" y="233"/>
                      <a:pt x="183" y="233"/>
                      <a:pt x="183" y="233"/>
                    </a:cubicBezTo>
                    <a:cubicBezTo>
                      <a:pt x="186" y="233"/>
                      <a:pt x="186" y="233"/>
                      <a:pt x="186" y="233"/>
                    </a:cubicBezTo>
                    <a:cubicBezTo>
                      <a:pt x="186" y="233"/>
                      <a:pt x="186" y="233"/>
                      <a:pt x="186" y="233"/>
                    </a:cubicBezTo>
                    <a:cubicBezTo>
                      <a:pt x="186" y="233"/>
                      <a:pt x="186" y="233"/>
                      <a:pt x="186" y="233"/>
                    </a:cubicBezTo>
                    <a:cubicBezTo>
                      <a:pt x="189" y="233"/>
                      <a:pt x="189" y="233"/>
                      <a:pt x="189" y="233"/>
                    </a:cubicBezTo>
                    <a:cubicBezTo>
                      <a:pt x="191" y="233"/>
                      <a:pt x="191" y="233"/>
                      <a:pt x="191" y="233"/>
                    </a:cubicBezTo>
                    <a:cubicBezTo>
                      <a:pt x="189" y="229"/>
                      <a:pt x="189" y="229"/>
                      <a:pt x="189" y="229"/>
                    </a:cubicBezTo>
                    <a:cubicBezTo>
                      <a:pt x="187" y="227"/>
                      <a:pt x="187" y="227"/>
                      <a:pt x="187" y="227"/>
                    </a:cubicBezTo>
                    <a:cubicBezTo>
                      <a:pt x="185" y="224"/>
                      <a:pt x="185" y="224"/>
                      <a:pt x="185" y="224"/>
                    </a:cubicBezTo>
                    <a:cubicBezTo>
                      <a:pt x="184" y="223"/>
                      <a:pt x="184" y="223"/>
                      <a:pt x="184" y="223"/>
                    </a:cubicBezTo>
                    <a:cubicBezTo>
                      <a:pt x="182" y="220"/>
                      <a:pt x="182" y="220"/>
                      <a:pt x="182" y="220"/>
                    </a:cubicBezTo>
                    <a:cubicBezTo>
                      <a:pt x="181" y="213"/>
                      <a:pt x="181" y="213"/>
                      <a:pt x="181" y="213"/>
                    </a:cubicBezTo>
                    <a:cubicBezTo>
                      <a:pt x="180" y="210"/>
                      <a:pt x="180" y="210"/>
                      <a:pt x="180" y="210"/>
                    </a:cubicBezTo>
                    <a:cubicBezTo>
                      <a:pt x="180" y="208"/>
                      <a:pt x="180" y="208"/>
                      <a:pt x="180" y="208"/>
                    </a:cubicBezTo>
                    <a:cubicBezTo>
                      <a:pt x="181" y="207"/>
                      <a:pt x="181" y="207"/>
                      <a:pt x="181" y="207"/>
                    </a:cubicBezTo>
                    <a:cubicBezTo>
                      <a:pt x="184" y="206"/>
                      <a:pt x="184" y="206"/>
                      <a:pt x="184" y="206"/>
                    </a:cubicBezTo>
                    <a:cubicBezTo>
                      <a:pt x="187" y="206"/>
                      <a:pt x="187" y="206"/>
                      <a:pt x="187" y="206"/>
                    </a:cubicBezTo>
                    <a:cubicBezTo>
                      <a:pt x="187" y="207"/>
                      <a:pt x="187" y="207"/>
                      <a:pt x="187" y="207"/>
                    </a:cubicBezTo>
                    <a:cubicBezTo>
                      <a:pt x="188" y="207"/>
                      <a:pt x="188" y="207"/>
                      <a:pt x="188" y="207"/>
                    </a:cubicBezTo>
                    <a:cubicBezTo>
                      <a:pt x="188" y="207"/>
                      <a:pt x="188" y="207"/>
                      <a:pt x="188" y="207"/>
                    </a:cubicBezTo>
                    <a:cubicBezTo>
                      <a:pt x="190" y="209"/>
                      <a:pt x="190" y="209"/>
                      <a:pt x="190" y="209"/>
                    </a:cubicBezTo>
                    <a:cubicBezTo>
                      <a:pt x="197" y="205"/>
                      <a:pt x="197" y="205"/>
                      <a:pt x="197" y="205"/>
                    </a:cubicBezTo>
                    <a:cubicBezTo>
                      <a:pt x="198" y="202"/>
                      <a:pt x="198" y="202"/>
                      <a:pt x="198" y="202"/>
                    </a:cubicBezTo>
                    <a:cubicBezTo>
                      <a:pt x="198" y="199"/>
                      <a:pt x="198" y="199"/>
                      <a:pt x="198" y="199"/>
                    </a:cubicBezTo>
                    <a:cubicBezTo>
                      <a:pt x="200" y="197"/>
                      <a:pt x="200" y="197"/>
                      <a:pt x="200" y="197"/>
                    </a:cubicBezTo>
                    <a:cubicBezTo>
                      <a:pt x="203" y="194"/>
                      <a:pt x="203" y="194"/>
                      <a:pt x="203" y="194"/>
                    </a:cubicBezTo>
                    <a:cubicBezTo>
                      <a:pt x="202" y="191"/>
                      <a:pt x="202" y="191"/>
                      <a:pt x="202" y="191"/>
                    </a:cubicBezTo>
                    <a:cubicBezTo>
                      <a:pt x="203" y="190"/>
                      <a:pt x="203" y="190"/>
                      <a:pt x="203" y="190"/>
                    </a:cubicBezTo>
                    <a:cubicBezTo>
                      <a:pt x="204" y="188"/>
                      <a:pt x="204" y="188"/>
                      <a:pt x="204" y="188"/>
                    </a:cubicBezTo>
                    <a:cubicBezTo>
                      <a:pt x="205" y="185"/>
                      <a:pt x="205" y="185"/>
                      <a:pt x="205" y="185"/>
                    </a:cubicBezTo>
                    <a:cubicBezTo>
                      <a:pt x="206" y="181"/>
                      <a:pt x="206" y="181"/>
                      <a:pt x="206" y="181"/>
                    </a:cubicBezTo>
                    <a:cubicBezTo>
                      <a:pt x="206" y="181"/>
                      <a:pt x="206" y="181"/>
                      <a:pt x="206" y="181"/>
                    </a:cubicBezTo>
                    <a:cubicBezTo>
                      <a:pt x="210" y="177"/>
                      <a:pt x="210" y="177"/>
                      <a:pt x="210" y="177"/>
                    </a:cubicBezTo>
                    <a:cubicBezTo>
                      <a:pt x="207" y="175"/>
                      <a:pt x="207" y="175"/>
                      <a:pt x="207" y="175"/>
                    </a:cubicBezTo>
                    <a:cubicBezTo>
                      <a:pt x="207" y="174"/>
                      <a:pt x="207" y="174"/>
                      <a:pt x="207" y="174"/>
                    </a:cubicBezTo>
                    <a:cubicBezTo>
                      <a:pt x="207" y="174"/>
                      <a:pt x="207" y="174"/>
                      <a:pt x="207" y="174"/>
                    </a:cubicBezTo>
                    <a:cubicBezTo>
                      <a:pt x="207" y="169"/>
                      <a:pt x="207" y="169"/>
                      <a:pt x="207" y="169"/>
                    </a:cubicBezTo>
                    <a:cubicBezTo>
                      <a:pt x="207" y="169"/>
                      <a:pt x="207" y="169"/>
                      <a:pt x="207" y="169"/>
                    </a:cubicBezTo>
                    <a:cubicBezTo>
                      <a:pt x="207" y="168"/>
                      <a:pt x="207" y="168"/>
                      <a:pt x="207" y="168"/>
                    </a:cubicBezTo>
                    <a:cubicBezTo>
                      <a:pt x="206" y="167"/>
                      <a:pt x="206" y="167"/>
                      <a:pt x="206" y="167"/>
                    </a:cubicBezTo>
                    <a:cubicBezTo>
                      <a:pt x="205" y="165"/>
                      <a:pt x="205" y="165"/>
                      <a:pt x="205" y="165"/>
                    </a:cubicBezTo>
                    <a:cubicBezTo>
                      <a:pt x="204" y="164"/>
                      <a:pt x="204" y="164"/>
                      <a:pt x="204" y="164"/>
                    </a:cubicBezTo>
                    <a:cubicBezTo>
                      <a:pt x="204" y="162"/>
                      <a:pt x="204" y="162"/>
                      <a:pt x="204" y="162"/>
                    </a:cubicBezTo>
                    <a:cubicBezTo>
                      <a:pt x="204" y="162"/>
                      <a:pt x="204" y="162"/>
                      <a:pt x="204" y="162"/>
                    </a:cubicBezTo>
                    <a:cubicBezTo>
                      <a:pt x="204" y="161"/>
                      <a:pt x="204" y="161"/>
                      <a:pt x="204" y="161"/>
                    </a:cubicBezTo>
                    <a:cubicBezTo>
                      <a:pt x="205" y="160"/>
                      <a:pt x="205" y="160"/>
                      <a:pt x="205" y="160"/>
                    </a:cubicBezTo>
                    <a:cubicBezTo>
                      <a:pt x="205" y="160"/>
                      <a:pt x="205" y="160"/>
                      <a:pt x="205" y="160"/>
                    </a:cubicBezTo>
                    <a:cubicBezTo>
                      <a:pt x="206" y="158"/>
                      <a:pt x="206" y="158"/>
                      <a:pt x="206" y="158"/>
                    </a:cubicBezTo>
                    <a:cubicBezTo>
                      <a:pt x="207" y="158"/>
                      <a:pt x="207" y="158"/>
                      <a:pt x="207" y="158"/>
                    </a:cubicBezTo>
                    <a:cubicBezTo>
                      <a:pt x="207" y="156"/>
                      <a:pt x="207" y="156"/>
                      <a:pt x="207" y="156"/>
                    </a:cubicBezTo>
                    <a:cubicBezTo>
                      <a:pt x="208" y="155"/>
                      <a:pt x="208" y="155"/>
                      <a:pt x="208" y="155"/>
                    </a:cubicBezTo>
                    <a:cubicBezTo>
                      <a:pt x="209" y="153"/>
                      <a:pt x="209" y="153"/>
                      <a:pt x="209" y="153"/>
                    </a:cubicBezTo>
                    <a:cubicBezTo>
                      <a:pt x="212" y="153"/>
                      <a:pt x="212" y="153"/>
                      <a:pt x="212" y="153"/>
                    </a:cubicBezTo>
                    <a:cubicBezTo>
                      <a:pt x="215" y="153"/>
                      <a:pt x="215" y="153"/>
                      <a:pt x="215" y="153"/>
                    </a:cubicBezTo>
                    <a:cubicBezTo>
                      <a:pt x="218" y="152"/>
                      <a:pt x="218" y="152"/>
                      <a:pt x="218" y="152"/>
                    </a:cubicBezTo>
                    <a:cubicBezTo>
                      <a:pt x="219" y="153"/>
                      <a:pt x="219" y="153"/>
                      <a:pt x="219" y="153"/>
                    </a:cubicBezTo>
                    <a:cubicBezTo>
                      <a:pt x="219" y="154"/>
                      <a:pt x="219" y="154"/>
                      <a:pt x="219" y="154"/>
                    </a:cubicBezTo>
                    <a:cubicBezTo>
                      <a:pt x="220" y="156"/>
                      <a:pt x="220" y="156"/>
                      <a:pt x="220" y="156"/>
                    </a:cubicBezTo>
                    <a:cubicBezTo>
                      <a:pt x="222" y="157"/>
                      <a:pt x="222" y="157"/>
                      <a:pt x="222" y="157"/>
                    </a:cubicBezTo>
                    <a:cubicBezTo>
                      <a:pt x="222" y="159"/>
                      <a:pt x="222" y="159"/>
                      <a:pt x="222" y="159"/>
                    </a:cubicBezTo>
                    <a:cubicBezTo>
                      <a:pt x="224" y="161"/>
                      <a:pt x="224" y="161"/>
                      <a:pt x="224" y="161"/>
                    </a:cubicBezTo>
                    <a:cubicBezTo>
                      <a:pt x="224" y="162"/>
                      <a:pt x="224" y="162"/>
                      <a:pt x="224" y="162"/>
                    </a:cubicBezTo>
                    <a:cubicBezTo>
                      <a:pt x="225" y="161"/>
                      <a:pt x="225" y="161"/>
                      <a:pt x="225" y="161"/>
                    </a:cubicBezTo>
                    <a:cubicBezTo>
                      <a:pt x="226" y="157"/>
                      <a:pt x="226" y="157"/>
                      <a:pt x="226" y="157"/>
                    </a:cubicBezTo>
                    <a:cubicBezTo>
                      <a:pt x="226" y="154"/>
                      <a:pt x="226" y="154"/>
                      <a:pt x="226" y="154"/>
                    </a:cubicBezTo>
                    <a:cubicBezTo>
                      <a:pt x="226" y="154"/>
                      <a:pt x="226" y="154"/>
                      <a:pt x="226" y="154"/>
                    </a:cubicBezTo>
                    <a:cubicBezTo>
                      <a:pt x="227" y="153"/>
                      <a:pt x="227" y="153"/>
                      <a:pt x="227" y="153"/>
                    </a:cubicBezTo>
                    <a:cubicBezTo>
                      <a:pt x="227" y="151"/>
                      <a:pt x="227" y="151"/>
                      <a:pt x="227" y="151"/>
                    </a:cubicBezTo>
                    <a:cubicBezTo>
                      <a:pt x="229" y="150"/>
                      <a:pt x="229" y="150"/>
                      <a:pt x="229" y="150"/>
                    </a:cubicBezTo>
                    <a:cubicBezTo>
                      <a:pt x="229" y="149"/>
                      <a:pt x="229" y="149"/>
                      <a:pt x="229" y="149"/>
                    </a:cubicBezTo>
                    <a:cubicBezTo>
                      <a:pt x="230" y="148"/>
                      <a:pt x="230" y="148"/>
                      <a:pt x="230" y="148"/>
                    </a:cubicBezTo>
                    <a:cubicBezTo>
                      <a:pt x="234" y="145"/>
                      <a:pt x="234" y="145"/>
                      <a:pt x="234" y="145"/>
                    </a:cubicBezTo>
                    <a:cubicBezTo>
                      <a:pt x="236" y="145"/>
                      <a:pt x="236" y="145"/>
                      <a:pt x="236" y="145"/>
                    </a:cubicBezTo>
                    <a:cubicBezTo>
                      <a:pt x="238" y="146"/>
                      <a:pt x="238" y="146"/>
                      <a:pt x="238" y="146"/>
                    </a:cubicBezTo>
                    <a:cubicBezTo>
                      <a:pt x="241" y="147"/>
                      <a:pt x="241" y="147"/>
                      <a:pt x="241" y="147"/>
                    </a:cubicBezTo>
                    <a:cubicBezTo>
                      <a:pt x="244" y="147"/>
                      <a:pt x="244" y="147"/>
                      <a:pt x="244" y="147"/>
                    </a:cubicBezTo>
                    <a:cubicBezTo>
                      <a:pt x="247" y="148"/>
                      <a:pt x="247" y="148"/>
                      <a:pt x="247" y="148"/>
                    </a:cubicBezTo>
                    <a:cubicBezTo>
                      <a:pt x="250" y="148"/>
                      <a:pt x="250" y="148"/>
                      <a:pt x="250" y="148"/>
                    </a:cubicBezTo>
                    <a:cubicBezTo>
                      <a:pt x="254" y="148"/>
                      <a:pt x="254" y="148"/>
                      <a:pt x="254" y="148"/>
                    </a:cubicBezTo>
                    <a:cubicBezTo>
                      <a:pt x="257" y="147"/>
                      <a:pt x="257" y="147"/>
                      <a:pt x="257" y="147"/>
                    </a:cubicBezTo>
                    <a:cubicBezTo>
                      <a:pt x="260" y="147"/>
                      <a:pt x="260" y="147"/>
                      <a:pt x="260" y="147"/>
                    </a:cubicBezTo>
                    <a:cubicBezTo>
                      <a:pt x="263" y="147"/>
                      <a:pt x="263" y="147"/>
                      <a:pt x="263" y="147"/>
                    </a:cubicBezTo>
                    <a:cubicBezTo>
                      <a:pt x="266" y="147"/>
                      <a:pt x="266" y="147"/>
                      <a:pt x="266" y="147"/>
                    </a:cubicBezTo>
                    <a:cubicBezTo>
                      <a:pt x="271" y="147"/>
                      <a:pt x="271" y="147"/>
                      <a:pt x="271" y="147"/>
                    </a:cubicBezTo>
                    <a:cubicBezTo>
                      <a:pt x="273" y="147"/>
                      <a:pt x="273" y="147"/>
                      <a:pt x="273" y="147"/>
                    </a:cubicBezTo>
                    <a:cubicBezTo>
                      <a:pt x="273" y="146"/>
                      <a:pt x="273" y="146"/>
                      <a:pt x="273" y="146"/>
                    </a:cubicBezTo>
                    <a:cubicBezTo>
                      <a:pt x="273" y="143"/>
                      <a:pt x="273" y="143"/>
                      <a:pt x="273" y="143"/>
                    </a:cubicBezTo>
                    <a:cubicBezTo>
                      <a:pt x="273" y="142"/>
                      <a:pt x="273" y="142"/>
                      <a:pt x="273" y="142"/>
                    </a:cubicBezTo>
                    <a:cubicBezTo>
                      <a:pt x="273" y="140"/>
                      <a:pt x="273" y="140"/>
                      <a:pt x="273" y="140"/>
                    </a:cubicBezTo>
                    <a:cubicBezTo>
                      <a:pt x="273" y="138"/>
                      <a:pt x="273" y="138"/>
                      <a:pt x="273" y="138"/>
                    </a:cubicBezTo>
                    <a:cubicBezTo>
                      <a:pt x="273" y="138"/>
                      <a:pt x="273" y="138"/>
                      <a:pt x="273" y="138"/>
                    </a:cubicBezTo>
                    <a:cubicBezTo>
                      <a:pt x="273" y="137"/>
                      <a:pt x="273" y="137"/>
                      <a:pt x="273" y="137"/>
                    </a:cubicBezTo>
                    <a:cubicBezTo>
                      <a:pt x="272" y="135"/>
                      <a:pt x="272" y="135"/>
                      <a:pt x="272" y="135"/>
                    </a:cubicBezTo>
                    <a:cubicBezTo>
                      <a:pt x="272" y="133"/>
                      <a:pt x="272" y="133"/>
                      <a:pt x="272" y="133"/>
                    </a:cubicBezTo>
                    <a:cubicBezTo>
                      <a:pt x="272" y="132"/>
                      <a:pt x="272" y="132"/>
                      <a:pt x="272" y="132"/>
                    </a:cubicBezTo>
                    <a:cubicBezTo>
                      <a:pt x="272" y="131"/>
                      <a:pt x="272" y="131"/>
                      <a:pt x="272" y="131"/>
                    </a:cubicBezTo>
                    <a:cubicBezTo>
                      <a:pt x="272" y="130"/>
                      <a:pt x="272" y="130"/>
                      <a:pt x="272" y="130"/>
                    </a:cubicBezTo>
                    <a:cubicBezTo>
                      <a:pt x="272" y="129"/>
                      <a:pt x="272" y="129"/>
                      <a:pt x="272" y="129"/>
                    </a:cubicBezTo>
                    <a:cubicBezTo>
                      <a:pt x="272" y="127"/>
                      <a:pt x="272" y="127"/>
                      <a:pt x="272" y="127"/>
                    </a:cubicBezTo>
                    <a:cubicBezTo>
                      <a:pt x="275" y="125"/>
                      <a:pt x="275" y="125"/>
                      <a:pt x="275" y="125"/>
                    </a:cubicBezTo>
                    <a:cubicBezTo>
                      <a:pt x="276" y="125"/>
                      <a:pt x="276" y="125"/>
                      <a:pt x="276" y="125"/>
                    </a:cubicBezTo>
                    <a:cubicBezTo>
                      <a:pt x="280" y="123"/>
                      <a:pt x="280" y="123"/>
                      <a:pt x="280" y="123"/>
                    </a:cubicBezTo>
                    <a:cubicBezTo>
                      <a:pt x="282" y="122"/>
                      <a:pt x="282" y="122"/>
                      <a:pt x="282" y="122"/>
                    </a:cubicBezTo>
                    <a:cubicBezTo>
                      <a:pt x="285" y="121"/>
                      <a:pt x="285" y="121"/>
                      <a:pt x="285" y="121"/>
                    </a:cubicBezTo>
                    <a:cubicBezTo>
                      <a:pt x="287" y="120"/>
                      <a:pt x="287" y="120"/>
                      <a:pt x="287" y="120"/>
                    </a:cubicBezTo>
                    <a:cubicBezTo>
                      <a:pt x="288" y="119"/>
                      <a:pt x="288" y="119"/>
                      <a:pt x="288" y="119"/>
                    </a:cubicBezTo>
                    <a:cubicBezTo>
                      <a:pt x="293" y="118"/>
                      <a:pt x="293" y="118"/>
                      <a:pt x="293" y="118"/>
                    </a:cubicBezTo>
                    <a:cubicBezTo>
                      <a:pt x="296" y="117"/>
                      <a:pt x="296" y="117"/>
                      <a:pt x="296" y="117"/>
                    </a:cubicBezTo>
                    <a:cubicBezTo>
                      <a:pt x="299" y="117"/>
                      <a:pt x="299" y="117"/>
                      <a:pt x="299" y="117"/>
                    </a:cubicBezTo>
                    <a:cubicBezTo>
                      <a:pt x="302" y="116"/>
                      <a:pt x="302" y="116"/>
                      <a:pt x="302" y="116"/>
                    </a:cubicBezTo>
                    <a:cubicBezTo>
                      <a:pt x="304" y="115"/>
                      <a:pt x="304" y="115"/>
                      <a:pt x="304" y="115"/>
                    </a:cubicBezTo>
                    <a:cubicBezTo>
                      <a:pt x="308" y="113"/>
                      <a:pt x="308" y="113"/>
                      <a:pt x="308" y="113"/>
                    </a:cubicBezTo>
                    <a:cubicBezTo>
                      <a:pt x="311" y="112"/>
                      <a:pt x="311" y="112"/>
                      <a:pt x="311" y="112"/>
                    </a:cubicBezTo>
                    <a:cubicBezTo>
                      <a:pt x="314" y="111"/>
                      <a:pt x="314" y="111"/>
                      <a:pt x="314" y="111"/>
                    </a:cubicBezTo>
                    <a:cubicBezTo>
                      <a:pt x="314" y="111"/>
                      <a:pt x="314" y="111"/>
                      <a:pt x="314" y="111"/>
                    </a:cubicBezTo>
                    <a:cubicBezTo>
                      <a:pt x="317" y="110"/>
                      <a:pt x="317" y="110"/>
                      <a:pt x="317" y="110"/>
                    </a:cubicBezTo>
                    <a:cubicBezTo>
                      <a:pt x="317" y="109"/>
                      <a:pt x="317" y="109"/>
                      <a:pt x="317" y="109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20" y="104"/>
                      <a:pt x="320" y="104"/>
                      <a:pt x="320" y="104"/>
                    </a:cubicBezTo>
                    <a:lnTo>
                      <a:pt x="319" y="103"/>
                    </a:lnTo>
                    <a:close/>
                  </a:path>
                </a:pathLst>
              </a:custGeom>
              <a:grpFill/>
              <a:ln w="2540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  <p:sp>
            <p:nvSpPr>
              <p:cNvPr id="69" name="Freeform 67">
                <a:extLst>
                  <a:ext uri="{FF2B5EF4-FFF2-40B4-BE49-F238E27FC236}">
                    <a16:creationId xmlns:a16="http://schemas.microsoft.com/office/drawing/2014/main" id="{B0D54680-C54D-4F5F-9EB3-9C00B56C7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6" y="581026"/>
                <a:ext cx="76200" cy="61913"/>
              </a:xfrm>
              <a:custGeom>
                <a:avLst/>
                <a:gdLst>
                  <a:gd name="T0" fmla="*/ 0 w 44"/>
                  <a:gd name="T1" fmla="*/ 19 h 36"/>
                  <a:gd name="T2" fmla="*/ 9 w 44"/>
                  <a:gd name="T3" fmla="*/ 32 h 36"/>
                  <a:gd name="T4" fmla="*/ 22 w 44"/>
                  <a:gd name="T5" fmla="*/ 30 h 36"/>
                  <a:gd name="T6" fmla="*/ 28 w 44"/>
                  <a:gd name="T7" fmla="*/ 25 h 36"/>
                  <a:gd name="T8" fmla="*/ 30 w 44"/>
                  <a:gd name="T9" fmla="*/ 18 h 36"/>
                  <a:gd name="T10" fmla="*/ 39 w 44"/>
                  <a:gd name="T11" fmla="*/ 7 h 36"/>
                  <a:gd name="T12" fmla="*/ 38 w 44"/>
                  <a:gd name="T13" fmla="*/ 1 h 36"/>
                  <a:gd name="T14" fmla="*/ 34 w 44"/>
                  <a:gd name="T15" fmla="*/ 0 h 36"/>
                  <a:gd name="T16" fmla="*/ 34 w 44"/>
                  <a:gd name="T17" fmla="*/ 1 h 36"/>
                  <a:gd name="T18" fmla="*/ 34 w 44"/>
                  <a:gd name="T19" fmla="*/ 11 h 36"/>
                  <a:gd name="T20" fmla="*/ 29 w 44"/>
                  <a:gd name="T21" fmla="*/ 13 h 36"/>
                  <a:gd name="T22" fmla="*/ 20 w 44"/>
                  <a:gd name="T23" fmla="*/ 4 h 36"/>
                  <a:gd name="T24" fmla="*/ 8 w 44"/>
                  <a:gd name="T25" fmla="*/ 10 h 36"/>
                  <a:gd name="T26" fmla="*/ 3 w 44"/>
                  <a:gd name="T27" fmla="*/ 11 h 36"/>
                  <a:gd name="T28" fmla="*/ 3 w 44"/>
                  <a:gd name="T29" fmla="*/ 15 h 36"/>
                  <a:gd name="T30" fmla="*/ 0 w 44"/>
                  <a:gd name="T31" fmla="*/ 1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36">
                    <a:moveTo>
                      <a:pt x="0" y="19"/>
                    </a:moveTo>
                    <a:cubicBezTo>
                      <a:pt x="0" y="19"/>
                      <a:pt x="8" y="32"/>
                      <a:pt x="9" y="32"/>
                    </a:cubicBezTo>
                    <a:cubicBezTo>
                      <a:pt x="14" y="33"/>
                      <a:pt x="19" y="36"/>
                      <a:pt x="22" y="30"/>
                    </a:cubicBezTo>
                    <a:cubicBezTo>
                      <a:pt x="23" y="27"/>
                      <a:pt x="26" y="27"/>
                      <a:pt x="28" y="25"/>
                    </a:cubicBezTo>
                    <a:cubicBezTo>
                      <a:pt x="30" y="24"/>
                      <a:pt x="29" y="20"/>
                      <a:pt x="30" y="18"/>
                    </a:cubicBezTo>
                    <a:cubicBezTo>
                      <a:pt x="32" y="15"/>
                      <a:pt x="44" y="13"/>
                      <a:pt x="39" y="7"/>
                    </a:cubicBezTo>
                    <a:cubicBezTo>
                      <a:pt x="37" y="5"/>
                      <a:pt x="35" y="2"/>
                      <a:pt x="38" y="1"/>
                    </a:cubicBezTo>
                    <a:cubicBezTo>
                      <a:pt x="37" y="1"/>
                      <a:pt x="36" y="1"/>
                      <a:pt x="34" y="0"/>
                    </a:cubicBezTo>
                    <a:cubicBezTo>
                      <a:pt x="34" y="0"/>
                      <a:pt x="34" y="1"/>
                      <a:pt x="34" y="1"/>
                    </a:cubicBezTo>
                    <a:cubicBezTo>
                      <a:pt x="35" y="3"/>
                      <a:pt x="36" y="9"/>
                      <a:pt x="34" y="11"/>
                    </a:cubicBezTo>
                    <a:cubicBezTo>
                      <a:pt x="33" y="12"/>
                      <a:pt x="29" y="13"/>
                      <a:pt x="29" y="13"/>
                    </a:cubicBezTo>
                    <a:cubicBezTo>
                      <a:pt x="25" y="11"/>
                      <a:pt x="25" y="4"/>
                      <a:pt x="20" y="4"/>
                    </a:cubicBezTo>
                    <a:cubicBezTo>
                      <a:pt x="16" y="4"/>
                      <a:pt x="13" y="9"/>
                      <a:pt x="8" y="10"/>
                    </a:cubicBezTo>
                    <a:cubicBezTo>
                      <a:pt x="7" y="10"/>
                      <a:pt x="4" y="9"/>
                      <a:pt x="3" y="11"/>
                    </a:cubicBezTo>
                    <a:cubicBezTo>
                      <a:pt x="2" y="12"/>
                      <a:pt x="3" y="14"/>
                      <a:pt x="3" y="15"/>
                    </a:cubicBezTo>
                    <a:cubicBezTo>
                      <a:pt x="2" y="16"/>
                      <a:pt x="1" y="18"/>
                      <a:pt x="0" y="19"/>
                    </a:cubicBezTo>
                    <a:close/>
                  </a:path>
                </a:pathLst>
              </a:custGeom>
              <a:grpFill/>
              <a:ln w="2540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 sz="900"/>
              </a:p>
            </p:txBody>
          </p:sp>
        </p:grp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BC364EB6-2E34-4923-87EA-1ED051783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992" y="247309"/>
            <a:ext cx="6232449" cy="976582"/>
          </a:xfrm>
        </p:spPr>
        <p:txBody>
          <a:bodyPr/>
          <a:lstStyle/>
          <a:p>
            <a:r>
              <a:rPr lang="et-EE" sz="3200" dirty="0" err="1"/>
              <a:t>tourism</a:t>
            </a:r>
            <a:r>
              <a:rPr lang="et-EE" sz="3200" dirty="0"/>
              <a:t> </a:t>
            </a:r>
            <a:r>
              <a:rPr lang="et-EE" sz="3200" dirty="0" err="1"/>
              <a:t>decline</a:t>
            </a:r>
            <a:r>
              <a:rPr lang="et-EE" sz="3200" dirty="0"/>
              <a:t> - </a:t>
            </a:r>
            <a:r>
              <a:rPr lang="et-EE" sz="3200" dirty="0" err="1"/>
              <a:t>total</a:t>
            </a:r>
            <a:r>
              <a:rPr lang="fi-FI" sz="3200" dirty="0"/>
              <a:t> (%) </a:t>
            </a:r>
            <a:r>
              <a:rPr lang="et-EE" sz="3200" dirty="0" err="1"/>
              <a:t>January</a:t>
            </a:r>
            <a:r>
              <a:rPr lang="et-EE" sz="3200" dirty="0"/>
              <a:t> </a:t>
            </a:r>
            <a:r>
              <a:rPr lang="et-EE" sz="3200" dirty="0" err="1"/>
              <a:t>to</a:t>
            </a:r>
            <a:r>
              <a:rPr lang="et-EE" sz="3200" dirty="0"/>
              <a:t> August</a:t>
            </a:r>
            <a:r>
              <a:rPr lang="fi-FI" sz="3200" dirty="0"/>
              <a:t>,</a:t>
            </a:r>
            <a:r>
              <a:rPr lang="et-EE" sz="3200" dirty="0"/>
              <a:t> </a:t>
            </a:r>
            <a:r>
              <a:rPr lang="fi-FI" sz="3200" dirty="0"/>
              <a:t>2020</a:t>
            </a:r>
            <a:r>
              <a:rPr lang="et-EE" sz="3200" dirty="0"/>
              <a:t> (</a:t>
            </a:r>
            <a:r>
              <a:rPr lang="et-EE" sz="3200" dirty="0" err="1"/>
              <a:t>YoY</a:t>
            </a:r>
            <a:r>
              <a:rPr lang="et-EE" sz="3200" dirty="0"/>
              <a:t>)</a:t>
            </a:r>
            <a:br>
              <a:rPr lang="fi-FI" sz="3200" dirty="0"/>
            </a:br>
            <a:endParaRPr lang="fi-FI" sz="3200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14F96FF-75AF-4212-9B6D-2137D1E887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187" y="0"/>
            <a:ext cx="1836925" cy="498744"/>
          </a:xfrm>
          <a:prstGeom prst="rect">
            <a:avLst/>
          </a:prstGeom>
        </p:spPr>
      </p:pic>
      <p:sp>
        <p:nvSpPr>
          <p:cNvPr id="45" name="Ristkülik 6">
            <a:extLst>
              <a:ext uri="{FF2B5EF4-FFF2-40B4-BE49-F238E27FC236}">
                <a16:creationId xmlns:a16="http://schemas.microsoft.com/office/drawing/2014/main" id="{308FF76B-9A3D-4011-BD4D-51FBAC1A6D40}"/>
              </a:ext>
            </a:extLst>
          </p:cNvPr>
          <p:cNvSpPr/>
          <p:nvPr/>
        </p:nvSpPr>
        <p:spPr>
          <a:xfrm>
            <a:off x="624856" y="4044156"/>
            <a:ext cx="180000" cy="180000"/>
          </a:xfrm>
          <a:prstGeom prst="rect">
            <a:avLst/>
          </a:prstGeom>
          <a:solidFill>
            <a:srgbClr val="0000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84070A7-0CFE-460F-A94C-823C399FF863}"/>
              </a:ext>
            </a:extLst>
          </p:cNvPr>
          <p:cNvSpPr txBox="1"/>
          <p:nvPr/>
        </p:nvSpPr>
        <p:spPr>
          <a:xfrm>
            <a:off x="951245" y="4044156"/>
            <a:ext cx="778943" cy="180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t-EE" sz="1000" dirty="0" err="1"/>
              <a:t>More</a:t>
            </a:r>
            <a:r>
              <a:rPr lang="et-EE" sz="1000" dirty="0"/>
              <a:t> </a:t>
            </a:r>
            <a:r>
              <a:rPr lang="et-EE" sz="1000" dirty="0" err="1"/>
              <a:t>than</a:t>
            </a:r>
            <a:r>
              <a:rPr lang="et-EE" sz="1000" dirty="0"/>
              <a:t> -50%</a:t>
            </a:r>
            <a:endParaRPr lang="en-US" sz="1000" dirty="0"/>
          </a:p>
        </p:txBody>
      </p:sp>
      <p:sp>
        <p:nvSpPr>
          <p:cNvPr id="47" name="Ristkülik 8">
            <a:extLst>
              <a:ext uri="{FF2B5EF4-FFF2-40B4-BE49-F238E27FC236}">
                <a16:creationId xmlns:a16="http://schemas.microsoft.com/office/drawing/2014/main" id="{E96F103F-6A6E-4C1D-9C27-B1B45D04C384}"/>
              </a:ext>
            </a:extLst>
          </p:cNvPr>
          <p:cNvSpPr/>
          <p:nvPr/>
        </p:nvSpPr>
        <p:spPr>
          <a:xfrm>
            <a:off x="624856" y="4311220"/>
            <a:ext cx="180000" cy="180000"/>
          </a:xfrm>
          <a:prstGeom prst="rect">
            <a:avLst/>
          </a:prstGeom>
          <a:solidFill>
            <a:srgbClr val="0000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A331037-5AEA-44B7-9FFC-3EFE2840CC50}"/>
              </a:ext>
            </a:extLst>
          </p:cNvPr>
          <p:cNvSpPr txBox="1"/>
          <p:nvPr/>
        </p:nvSpPr>
        <p:spPr>
          <a:xfrm>
            <a:off x="951245" y="4311219"/>
            <a:ext cx="2019300" cy="18000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t-EE" sz="1000" dirty="0"/>
              <a:t>-41...-50%</a:t>
            </a:r>
            <a:endParaRPr lang="en-US" sz="1000" dirty="0"/>
          </a:p>
        </p:txBody>
      </p:sp>
      <p:sp>
        <p:nvSpPr>
          <p:cNvPr id="49" name="Ristkülik 20">
            <a:extLst>
              <a:ext uri="{FF2B5EF4-FFF2-40B4-BE49-F238E27FC236}">
                <a16:creationId xmlns:a16="http://schemas.microsoft.com/office/drawing/2014/main" id="{B16476FD-64A2-4F2B-9749-C19CFEBC2F48}"/>
              </a:ext>
            </a:extLst>
          </p:cNvPr>
          <p:cNvSpPr/>
          <p:nvPr/>
        </p:nvSpPr>
        <p:spPr>
          <a:xfrm>
            <a:off x="624855" y="4581880"/>
            <a:ext cx="180000" cy="180000"/>
          </a:xfrm>
          <a:prstGeom prst="rect">
            <a:avLst/>
          </a:prstGeom>
          <a:solidFill>
            <a:srgbClr val="5D5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816CCBE-4E97-4A49-A11D-0794C9BFB970}"/>
              </a:ext>
            </a:extLst>
          </p:cNvPr>
          <p:cNvSpPr txBox="1"/>
          <p:nvPr/>
        </p:nvSpPr>
        <p:spPr>
          <a:xfrm>
            <a:off x="951245" y="4589785"/>
            <a:ext cx="2019300" cy="18000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t-EE" sz="1000" dirty="0"/>
              <a:t>-31...-40%</a:t>
            </a:r>
            <a:endParaRPr lang="en-US" sz="1000" dirty="0"/>
          </a:p>
        </p:txBody>
      </p:sp>
      <p:sp>
        <p:nvSpPr>
          <p:cNvPr id="51" name="Ristkülik 20">
            <a:extLst>
              <a:ext uri="{FF2B5EF4-FFF2-40B4-BE49-F238E27FC236}">
                <a16:creationId xmlns:a16="http://schemas.microsoft.com/office/drawing/2014/main" id="{88969C4C-BCFA-41E2-939F-7478D86CBA15}"/>
              </a:ext>
            </a:extLst>
          </p:cNvPr>
          <p:cNvSpPr/>
          <p:nvPr/>
        </p:nvSpPr>
        <p:spPr>
          <a:xfrm>
            <a:off x="624855" y="4854474"/>
            <a:ext cx="180000" cy="180000"/>
          </a:xfrm>
          <a:prstGeom prst="rect">
            <a:avLst/>
          </a:prstGeom>
          <a:solidFill>
            <a:srgbClr val="939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A87A34E-91F7-41EE-9D15-7477C2CE205C}"/>
              </a:ext>
            </a:extLst>
          </p:cNvPr>
          <p:cNvSpPr txBox="1"/>
          <p:nvPr/>
        </p:nvSpPr>
        <p:spPr>
          <a:xfrm>
            <a:off x="951245" y="4854138"/>
            <a:ext cx="2019300" cy="18000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t-EE" sz="1000" dirty="0"/>
              <a:t>-21...-30%</a:t>
            </a:r>
            <a:endParaRPr lang="en-US" sz="1000" dirty="0"/>
          </a:p>
        </p:txBody>
      </p:sp>
      <p:sp>
        <p:nvSpPr>
          <p:cNvPr id="53" name="Ristkülik 20">
            <a:extLst>
              <a:ext uri="{FF2B5EF4-FFF2-40B4-BE49-F238E27FC236}">
                <a16:creationId xmlns:a16="http://schemas.microsoft.com/office/drawing/2014/main" id="{7D30B4B6-A13C-4F6A-A71E-CC96295D4D7C}"/>
              </a:ext>
            </a:extLst>
          </p:cNvPr>
          <p:cNvSpPr/>
          <p:nvPr/>
        </p:nvSpPr>
        <p:spPr>
          <a:xfrm>
            <a:off x="624855" y="5143676"/>
            <a:ext cx="180000" cy="180000"/>
          </a:xfrm>
          <a:prstGeom prst="rect">
            <a:avLst/>
          </a:prstGeom>
          <a:solidFill>
            <a:srgbClr val="C9C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D6EED1-D157-4320-8EA7-DE6FDC500F50}"/>
              </a:ext>
            </a:extLst>
          </p:cNvPr>
          <p:cNvSpPr txBox="1"/>
          <p:nvPr/>
        </p:nvSpPr>
        <p:spPr>
          <a:xfrm>
            <a:off x="951245" y="5143675"/>
            <a:ext cx="2019300" cy="18000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t-EE" sz="1000" dirty="0"/>
              <a:t>0...-15%</a:t>
            </a:r>
            <a:endParaRPr lang="en-US" sz="10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600881D-5060-422E-9065-297E07A2F697}"/>
              </a:ext>
            </a:extLst>
          </p:cNvPr>
          <p:cNvSpPr txBox="1"/>
          <p:nvPr/>
        </p:nvSpPr>
        <p:spPr>
          <a:xfrm>
            <a:off x="626843" y="3428999"/>
            <a:ext cx="2009443" cy="5556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t-EE" sz="1400" dirty="0" err="1"/>
              <a:t>total</a:t>
            </a:r>
            <a:r>
              <a:rPr lang="et-EE" sz="1400" dirty="0"/>
              <a:t> </a:t>
            </a:r>
            <a:r>
              <a:rPr lang="et-EE" sz="1400" dirty="0" err="1"/>
              <a:t>overnights</a:t>
            </a:r>
            <a:endParaRPr lang="et-EE" sz="1400" dirty="0"/>
          </a:p>
          <a:p>
            <a:r>
              <a:rPr lang="et-EE" sz="1400" dirty="0" err="1"/>
              <a:t>decline</a:t>
            </a:r>
            <a:r>
              <a:rPr lang="et-EE" sz="1400" dirty="0"/>
              <a:t>:</a:t>
            </a:r>
            <a:endParaRPr lang="en-US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27C688-ABF3-478A-BE24-1A11D8987A73}"/>
              </a:ext>
            </a:extLst>
          </p:cNvPr>
          <p:cNvSpPr txBox="1"/>
          <p:nvPr/>
        </p:nvSpPr>
        <p:spPr>
          <a:xfrm>
            <a:off x="408672" y="1607511"/>
            <a:ext cx="3384550" cy="64770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t-EE" sz="2000" dirty="0">
                <a:solidFill>
                  <a:schemeClr val="accent1"/>
                </a:solidFill>
              </a:rPr>
              <a:t>Estonia </a:t>
            </a:r>
            <a:r>
              <a:rPr lang="en-US" sz="2000" dirty="0">
                <a:solidFill>
                  <a:schemeClr val="accent1"/>
                </a:solidFill>
              </a:rPr>
              <a:t>-4</a:t>
            </a:r>
            <a:r>
              <a:rPr lang="et-EE" sz="2000" dirty="0">
                <a:solidFill>
                  <a:schemeClr val="accent1"/>
                </a:solidFill>
              </a:rPr>
              <a:t>5</a:t>
            </a:r>
            <a:r>
              <a:rPr lang="en-US" sz="2000" dirty="0">
                <a:solidFill>
                  <a:schemeClr val="accent1"/>
                </a:solidFill>
              </a:rPr>
              <a:t>%</a:t>
            </a:r>
            <a:endParaRPr lang="et-EE" sz="2000" dirty="0">
              <a:solidFill>
                <a:schemeClr val="accent1"/>
              </a:solidFill>
            </a:endParaRPr>
          </a:p>
          <a:p>
            <a:r>
              <a:rPr lang="et-EE" sz="2000" dirty="0" err="1">
                <a:solidFill>
                  <a:schemeClr val="accent1"/>
                </a:solidFill>
              </a:rPr>
              <a:t>average</a:t>
            </a:r>
            <a:r>
              <a:rPr lang="et-EE" sz="2000" dirty="0">
                <a:solidFill>
                  <a:schemeClr val="accent1"/>
                </a:solidFill>
              </a:rPr>
              <a:t> </a:t>
            </a:r>
            <a:r>
              <a:rPr lang="et-EE" sz="2000" dirty="0" err="1">
                <a:solidFill>
                  <a:schemeClr val="accent1"/>
                </a:solidFill>
              </a:rPr>
              <a:t>price</a:t>
            </a:r>
            <a:r>
              <a:rPr lang="et-EE" sz="2000" dirty="0">
                <a:solidFill>
                  <a:schemeClr val="accent1"/>
                </a:solidFill>
              </a:rPr>
              <a:t> -30%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endParaRPr lang="et-EE" sz="2000" dirty="0">
              <a:solidFill>
                <a:schemeClr val="accent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0C6407B8-B2B5-4757-B9EB-1BF8311251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758" y="0"/>
            <a:ext cx="1980354" cy="56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7099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79ADBA-1BEB-4794-85FB-9EB28118FD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A79ADBA-1BEB-4794-85FB-9EB28118F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3DDADE-40C5-4CC1-8E2B-B9807F03FE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t-EE" sz="6000" dirty="0">
              <a:latin typeface="Aino Headline" panose="020B0303040504020204" pitchFamily="34" charset="0"/>
              <a:ea typeface="+mj-ea"/>
              <a:cs typeface="+mj-cs"/>
              <a:sym typeface="Aino Headline" panose="020B0303040504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3887" y="334948"/>
            <a:ext cx="9181125" cy="1617675"/>
          </a:xfrm>
        </p:spPr>
        <p:txBody>
          <a:bodyPr/>
          <a:lstStyle/>
          <a:p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making</a:t>
            </a:r>
            <a:r>
              <a:rPr lang="et-EE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impossible</a:t>
            </a:r>
            <a:r>
              <a:rPr lang="et-EE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possible</a:t>
            </a:r>
            <a:r>
              <a:rPr lang="et-EE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– </a:t>
            </a:r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big</a:t>
            </a:r>
            <a:r>
              <a:rPr lang="et-EE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international</a:t>
            </a:r>
            <a:r>
              <a:rPr lang="et-EE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</a:t>
            </a:r>
            <a:r>
              <a:rPr lang="et-EE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events</a:t>
            </a:r>
            <a:endParaRPr lang="en-GB" sz="44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FD4112-B73E-48DF-86D4-69C3DD10DD6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800638"/>
            <a:ext cx="6531429" cy="505736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7C4E19-2D6B-46DA-9F9E-A9FF22D569E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5116" y="1952623"/>
            <a:ext cx="7692475" cy="48862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553577D-3CC4-4E06-8388-CF5FD205D2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758" y="0"/>
            <a:ext cx="1980354" cy="56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521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7F7315-94AF-4168-97EE-11A43F8FA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6" y="658800"/>
            <a:ext cx="7213827" cy="1379005"/>
          </a:xfrm>
        </p:spPr>
        <p:txBody>
          <a:bodyPr/>
          <a:lstStyle/>
          <a:p>
            <a:r>
              <a:rPr lang="et-EE" dirty="0" err="1"/>
              <a:t>safety</a:t>
            </a:r>
            <a:r>
              <a:rPr lang="et-EE" dirty="0"/>
              <a:t> </a:t>
            </a:r>
            <a:r>
              <a:rPr lang="et-EE" dirty="0" err="1"/>
              <a:t>label</a:t>
            </a:r>
            <a:r>
              <a:rPr lang="et-EE" dirty="0"/>
              <a:t> and </a:t>
            </a:r>
            <a:r>
              <a:rPr lang="et-EE" dirty="0" err="1"/>
              <a:t>desinfection</a:t>
            </a:r>
            <a:r>
              <a:rPr lang="et-EE" dirty="0"/>
              <a:t> </a:t>
            </a:r>
            <a:r>
              <a:rPr lang="et-EE" dirty="0" err="1"/>
              <a:t>station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8EB939-73C5-4A92-A66A-31E6BAC5FF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7" y="2276476"/>
            <a:ext cx="8574542" cy="693148"/>
          </a:xfrm>
        </p:spPr>
        <p:txBody>
          <a:bodyPr/>
          <a:lstStyle/>
          <a:p>
            <a:r>
              <a:rPr lang="et-EE" dirty="0" err="1"/>
              <a:t>You</a:t>
            </a:r>
            <a:r>
              <a:rPr lang="et-EE" dirty="0"/>
              <a:t> are </a:t>
            </a:r>
            <a:r>
              <a:rPr lang="et-EE" dirty="0" err="1"/>
              <a:t>safe</a:t>
            </a:r>
            <a:r>
              <a:rPr lang="et-EE" dirty="0"/>
              <a:t> </a:t>
            </a:r>
            <a:r>
              <a:rPr lang="et-EE" dirty="0" err="1"/>
              <a:t>here</a:t>
            </a:r>
            <a:r>
              <a:rPr lang="et-EE" dirty="0"/>
              <a:t> – </a:t>
            </a:r>
          </a:p>
          <a:p>
            <a:r>
              <a:rPr lang="et-EE" dirty="0" err="1"/>
              <a:t>destination</a:t>
            </a:r>
            <a:r>
              <a:rPr lang="et-EE" dirty="0"/>
              <a:t> </a:t>
            </a:r>
            <a:r>
              <a:rPr lang="et-EE" dirty="0" err="1"/>
              <a:t>recmmends</a:t>
            </a:r>
            <a:r>
              <a:rPr lang="et-EE" dirty="0"/>
              <a:t>, </a:t>
            </a:r>
            <a:r>
              <a:rPr lang="et-EE" dirty="0" err="1"/>
              <a:t>company</a:t>
            </a:r>
            <a:r>
              <a:rPr lang="et-EE" dirty="0"/>
              <a:t> </a:t>
            </a:r>
            <a:r>
              <a:rPr lang="et-EE" dirty="0" err="1"/>
              <a:t>confirms</a:t>
            </a:r>
            <a:endParaRPr lang="en-US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60DDEF7-2072-4018-883E-CDB0D79CA257}"/>
              </a:ext>
            </a:extLst>
          </p:cNvPr>
          <p:cNvSpPr txBox="1"/>
          <p:nvPr/>
        </p:nvSpPr>
        <p:spPr>
          <a:xfrm>
            <a:off x="853440" y="3735592"/>
            <a:ext cx="4708071" cy="2338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endParaRPr lang="et-EE" sz="2000" dirty="0">
              <a:solidFill>
                <a:schemeClr val="bg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12F368D-9ADC-4922-8135-D26A67D04AB9}"/>
              </a:ext>
            </a:extLst>
          </p:cNvPr>
          <p:cNvSpPr/>
          <p:nvPr/>
        </p:nvSpPr>
        <p:spPr>
          <a:xfrm>
            <a:off x="4230799" y="3301601"/>
            <a:ext cx="2471057" cy="234042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t-EE" sz="2400" dirty="0"/>
              <a:t>YOU </a:t>
            </a:r>
          </a:p>
          <a:p>
            <a:pPr algn="ctr"/>
            <a:r>
              <a:rPr lang="et-EE" sz="2400" dirty="0"/>
              <a:t>ARE SAF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D808BC-06F3-422C-ABB7-FF239F93A9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120" y="3208295"/>
            <a:ext cx="3086367" cy="274343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1C0D91D-D960-48DA-9040-41B2323D6D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4328" y="894900"/>
            <a:ext cx="7055739" cy="59631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624B231-3100-4C9D-8B30-31710C5FA9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758" y="0"/>
            <a:ext cx="1980354" cy="56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00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26AE466-D062-4687-A686-F5EE93E66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710" y="396967"/>
            <a:ext cx="10944225" cy="969975"/>
          </a:xfrm>
        </p:spPr>
        <p:txBody>
          <a:bodyPr/>
          <a:lstStyle/>
          <a:p>
            <a:r>
              <a:rPr lang="et-EE" dirty="0" err="1"/>
              <a:t>state</a:t>
            </a:r>
            <a:r>
              <a:rPr lang="et-EE" dirty="0"/>
              <a:t> </a:t>
            </a:r>
            <a:r>
              <a:rPr lang="et-EE" dirty="0" err="1"/>
              <a:t>aid</a:t>
            </a:r>
            <a:r>
              <a:rPr lang="et-EE" dirty="0"/>
              <a:t> </a:t>
            </a:r>
            <a:r>
              <a:rPr lang="et-EE" dirty="0" err="1"/>
              <a:t>for</a:t>
            </a:r>
            <a:r>
              <a:rPr lang="et-EE" dirty="0"/>
              <a:t> </a:t>
            </a:r>
            <a:r>
              <a:rPr lang="et-EE" dirty="0" err="1"/>
              <a:t>tourism</a:t>
            </a:r>
            <a:endParaRPr lang="en-US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F6214F6-8786-46F8-88C2-B602105BBE9F}"/>
              </a:ext>
            </a:extLst>
          </p:cNvPr>
          <p:cNvSpPr/>
          <p:nvPr/>
        </p:nvSpPr>
        <p:spPr>
          <a:xfrm>
            <a:off x="1216409" y="1635326"/>
            <a:ext cx="3207234" cy="2314011"/>
          </a:xfrm>
          <a:custGeom>
            <a:avLst/>
            <a:gdLst>
              <a:gd name="connsiteX0" fmla="*/ 2266569 w 2701599"/>
              <a:gd name="connsiteY0" fmla="*/ 214217 h 1949196"/>
              <a:gd name="connsiteX1" fmla="*/ 2004346 w 2701599"/>
              <a:gd name="connsiteY1" fmla="*/ 83058 h 1949196"/>
              <a:gd name="connsiteX2" fmla="*/ 1652492 w 2701599"/>
              <a:gd name="connsiteY2" fmla="*/ 0 h 1949196"/>
              <a:gd name="connsiteX3" fmla="*/ 1048893 w 2701599"/>
              <a:gd name="connsiteY3" fmla="*/ 0 h 1949196"/>
              <a:gd name="connsiteX4" fmla="*/ 492633 w 2701599"/>
              <a:gd name="connsiteY4" fmla="*/ 230410 h 1949196"/>
              <a:gd name="connsiteX5" fmla="*/ 230410 w 2701599"/>
              <a:gd name="connsiteY5" fmla="*/ 492728 h 1949196"/>
              <a:gd name="connsiteX6" fmla="*/ 0 w 2701599"/>
              <a:gd name="connsiteY6" fmla="*/ 1048988 h 1949196"/>
              <a:gd name="connsiteX7" fmla="*/ 0 w 2701599"/>
              <a:gd name="connsiteY7" fmla="*/ 1162526 h 1949196"/>
              <a:gd name="connsiteX8" fmla="*/ 786670 w 2701599"/>
              <a:gd name="connsiteY8" fmla="*/ 1949196 h 1949196"/>
              <a:gd name="connsiteX9" fmla="*/ 1835658 w 2701599"/>
              <a:gd name="connsiteY9" fmla="*/ 1949196 h 1949196"/>
              <a:gd name="connsiteX10" fmla="*/ 2582037 w 2701599"/>
              <a:gd name="connsiteY10" fmla="*/ 1411224 h 1949196"/>
              <a:gd name="connsiteX11" fmla="*/ 2661095 w 2701599"/>
              <a:gd name="connsiteY11" fmla="*/ 1166527 h 1949196"/>
              <a:gd name="connsiteX12" fmla="*/ 2266569 w 2701599"/>
              <a:gd name="connsiteY12" fmla="*/ 214217 h 1949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01599" h="1949196">
                <a:moveTo>
                  <a:pt x="2266569" y="214217"/>
                </a:moveTo>
                <a:lnTo>
                  <a:pt x="2004346" y="83058"/>
                </a:lnTo>
                <a:cubicBezTo>
                  <a:pt x="1895094" y="28480"/>
                  <a:pt x="1774603" y="0"/>
                  <a:pt x="1652492" y="0"/>
                </a:cubicBezTo>
                <a:lnTo>
                  <a:pt x="1048893" y="0"/>
                </a:lnTo>
                <a:cubicBezTo>
                  <a:pt x="840200" y="0"/>
                  <a:pt x="640080" y="82868"/>
                  <a:pt x="492633" y="230410"/>
                </a:cubicBezTo>
                <a:lnTo>
                  <a:pt x="230410" y="492728"/>
                </a:lnTo>
                <a:cubicBezTo>
                  <a:pt x="82868" y="640270"/>
                  <a:pt x="0" y="840391"/>
                  <a:pt x="0" y="1048988"/>
                </a:cubicBezTo>
                <a:lnTo>
                  <a:pt x="0" y="1162526"/>
                </a:lnTo>
                <a:cubicBezTo>
                  <a:pt x="0" y="1596962"/>
                  <a:pt x="352235" y="1949196"/>
                  <a:pt x="786670" y="1949196"/>
                </a:cubicBezTo>
                <a:lnTo>
                  <a:pt x="1835658" y="1949196"/>
                </a:lnTo>
                <a:cubicBezTo>
                  <a:pt x="2174272" y="1949196"/>
                  <a:pt x="2474881" y="1732502"/>
                  <a:pt x="2582037" y="1411224"/>
                </a:cubicBezTo>
                <a:lnTo>
                  <a:pt x="2661095" y="1166527"/>
                </a:lnTo>
                <a:cubicBezTo>
                  <a:pt x="2784920" y="795242"/>
                  <a:pt x="2616803" y="389382"/>
                  <a:pt x="2266569" y="214217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3009ED1-3E10-431F-ABC9-790EDEC713D0}"/>
              </a:ext>
            </a:extLst>
          </p:cNvPr>
          <p:cNvSpPr/>
          <p:nvPr/>
        </p:nvSpPr>
        <p:spPr>
          <a:xfrm>
            <a:off x="623888" y="3985459"/>
            <a:ext cx="3263564" cy="2259559"/>
          </a:xfrm>
          <a:custGeom>
            <a:avLst/>
            <a:gdLst>
              <a:gd name="connsiteX0" fmla="*/ 2785086 w 3408783"/>
              <a:gd name="connsiteY0" fmla="*/ 230410 h 2360104"/>
              <a:gd name="connsiteX1" fmla="*/ 2228826 w 3408783"/>
              <a:gd name="connsiteY1" fmla="*/ 0 h 2360104"/>
              <a:gd name="connsiteX2" fmla="*/ 1179933 w 3408783"/>
              <a:gd name="connsiteY2" fmla="*/ 0 h 2360104"/>
              <a:gd name="connsiteX3" fmla="*/ 623768 w 3408783"/>
              <a:gd name="connsiteY3" fmla="*/ 230410 h 2360104"/>
              <a:gd name="connsiteX4" fmla="*/ 230386 w 3408783"/>
              <a:gd name="connsiteY4" fmla="*/ 623792 h 2360104"/>
              <a:gd name="connsiteX5" fmla="*/ 230386 w 3408783"/>
              <a:gd name="connsiteY5" fmla="*/ 1736312 h 2360104"/>
              <a:gd name="connsiteX6" fmla="*/ 623768 w 3408783"/>
              <a:gd name="connsiteY6" fmla="*/ 2129695 h 2360104"/>
              <a:gd name="connsiteX7" fmla="*/ 1179933 w 3408783"/>
              <a:gd name="connsiteY7" fmla="*/ 2360105 h 2360104"/>
              <a:gd name="connsiteX8" fmla="*/ 2622114 w 3408783"/>
              <a:gd name="connsiteY8" fmla="*/ 2360105 h 2360104"/>
              <a:gd name="connsiteX9" fmla="*/ 3408783 w 3408783"/>
              <a:gd name="connsiteY9" fmla="*/ 1573435 h 2360104"/>
              <a:gd name="connsiteX10" fmla="*/ 3408783 w 3408783"/>
              <a:gd name="connsiteY10" fmla="*/ 1180052 h 2360104"/>
              <a:gd name="connsiteX11" fmla="*/ 3178374 w 3408783"/>
              <a:gd name="connsiteY11" fmla="*/ 623792 h 2360104"/>
              <a:gd name="connsiteX12" fmla="*/ 2785086 w 3408783"/>
              <a:gd name="connsiteY12" fmla="*/ 230410 h 2360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08783" h="2360104">
                <a:moveTo>
                  <a:pt x="2785086" y="230410"/>
                </a:moveTo>
                <a:cubicBezTo>
                  <a:pt x="2637544" y="82867"/>
                  <a:pt x="2437424" y="0"/>
                  <a:pt x="2228826" y="0"/>
                </a:cubicBezTo>
                <a:lnTo>
                  <a:pt x="1179933" y="0"/>
                </a:lnTo>
                <a:cubicBezTo>
                  <a:pt x="971336" y="0"/>
                  <a:pt x="771215" y="82963"/>
                  <a:pt x="623768" y="230410"/>
                </a:cubicBezTo>
                <a:lnTo>
                  <a:pt x="230386" y="623792"/>
                </a:lnTo>
                <a:cubicBezTo>
                  <a:pt x="-76795" y="931069"/>
                  <a:pt x="-76795" y="1429131"/>
                  <a:pt x="230386" y="1736312"/>
                </a:cubicBezTo>
                <a:lnTo>
                  <a:pt x="623768" y="2129695"/>
                </a:lnTo>
                <a:cubicBezTo>
                  <a:pt x="771311" y="2277237"/>
                  <a:pt x="971336" y="2360105"/>
                  <a:pt x="1179933" y="2360105"/>
                </a:cubicBezTo>
                <a:lnTo>
                  <a:pt x="2622114" y="2360105"/>
                </a:lnTo>
                <a:cubicBezTo>
                  <a:pt x="3056549" y="2360105"/>
                  <a:pt x="3408783" y="2007870"/>
                  <a:pt x="3408783" y="1573435"/>
                </a:cubicBezTo>
                <a:lnTo>
                  <a:pt x="3408783" y="1180052"/>
                </a:lnTo>
                <a:cubicBezTo>
                  <a:pt x="3408783" y="971455"/>
                  <a:pt x="3325821" y="771334"/>
                  <a:pt x="3178374" y="623792"/>
                </a:cubicBezTo>
                <a:lnTo>
                  <a:pt x="2785086" y="230410"/>
                </a:lnTo>
                <a:close/>
              </a:path>
            </a:pathLst>
          </a:custGeom>
          <a:solidFill>
            <a:srgbClr val="3C0078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6B0A279-3804-44D9-83C3-48C9199A4567}"/>
              </a:ext>
            </a:extLst>
          </p:cNvPr>
          <p:cNvSpPr/>
          <p:nvPr/>
        </p:nvSpPr>
        <p:spPr>
          <a:xfrm>
            <a:off x="8304547" y="4018086"/>
            <a:ext cx="3453964" cy="2348963"/>
          </a:xfrm>
          <a:custGeom>
            <a:avLst/>
            <a:gdLst>
              <a:gd name="connsiteX0" fmla="*/ 3128157 w 3259561"/>
              <a:gd name="connsiteY0" fmla="*/ 739616 h 2216753"/>
              <a:gd name="connsiteX1" fmla="*/ 2867362 w 3259561"/>
              <a:gd name="connsiteY1" fmla="*/ 348425 h 2216753"/>
              <a:gd name="connsiteX2" fmla="*/ 2216423 w 3259561"/>
              <a:gd name="connsiteY2" fmla="*/ 0 h 2216753"/>
              <a:gd name="connsiteX3" fmla="*/ 1434135 w 3259561"/>
              <a:gd name="connsiteY3" fmla="*/ 0 h 2216753"/>
              <a:gd name="connsiteX4" fmla="*/ 1143623 w 3259561"/>
              <a:gd name="connsiteY4" fmla="*/ 56007 h 2216753"/>
              <a:gd name="connsiteX5" fmla="*/ 491732 w 3259561"/>
              <a:gd name="connsiteY5" fmla="*/ 316801 h 2216753"/>
              <a:gd name="connsiteX6" fmla="*/ 35198 w 3259561"/>
              <a:gd name="connsiteY6" fmla="*/ 811149 h 2216753"/>
              <a:gd name="connsiteX7" fmla="*/ 131401 w 3259561"/>
              <a:gd name="connsiteY7" fmla="*/ 1477137 h 2216753"/>
              <a:gd name="connsiteX8" fmla="*/ 392195 w 3259561"/>
              <a:gd name="connsiteY8" fmla="*/ 1868329 h 2216753"/>
              <a:gd name="connsiteX9" fmla="*/ 1043134 w 3259561"/>
              <a:gd name="connsiteY9" fmla="*/ 2216753 h 2216753"/>
              <a:gd name="connsiteX10" fmla="*/ 2347011 w 3259561"/>
              <a:gd name="connsiteY10" fmla="*/ 2216753 h 2216753"/>
              <a:gd name="connsiteX11" fmla="*/ 3046718 w 3259561"/>
              <a:gd name="connsiteY11" fmla="*/ 1784318 h 2216753"/>
              <a:gd name="connsiteX12" fmla="*/ 3177115 w 3259561"/>
              <a:gd name="connsiteY12" fmla="*/ 1523524 h 2216753"/>
              <a:gd name="connsiteX13" fmla="*/ 3128157 w 3259561"/>
              <a:gd name="connsiteY13" fmla="*/ 739616 h 221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59561" h="2216753">
                <a:moveTo>
                  <a:pt x="3128157" y="739616"/>
                </a:moveTo>
                <a:lnTo>
                  <a:pt x="2867362" y="348425"/>
                </a:lnTo>
                <a:cubicBezTo>
                  <a:pt x="2722296" y="130778"/>
                  <a:pt x="2477980" y="0"/>
                  <a:pt x="2216423" y="0"/>
                </a:cubicBezTo>
                <a:lnTo>
                  <a:pt x="1434135" y="0"/>
                </a:lnTo>
                <a:cubicBezTo>
                  <a:pt x="1334599" y="0"/>
                  <a:pt x="1236015" y="18955"/>
                  <a:pt x="1143623" y="56007"/>
                </a:cubicBezTo>
                <a:lnTo>
                  <a:pt x="491732" y="316801"/>
                </a:lnTo>
                <a:cubicBezTo>
                  <a:pt x="272752" y="404336"/>
                  <a:pt x="105112" y="585978"/>
                  <a:pt x="35198" y="811149"/>
                </a:cubicBezTo>
                <a:cubicBezTo>
                  <a:pt x="-34715" y="1036320"/>
                  <a:pt x="623" y="1281017"/>
                  <a:pt x="131401" y="1477137"/>
                </a:cubicBezTo>
                <a:lnTo>
                  <a:pt x="392195" y="1868329"/>
                </a:lnTo>
                <a:cubicBezTo>
                  <a:pt x="537356" y="2085975"/>
                  <a:pt x="781577" y="2216753"/>
                  <a:pt x="1043134" y="2216753"/>
                </a:cubicBezTo>
                <a:lnTo>
                  <a:pt x="2347011" y="2216753"/>
                </a:lnTo>
                <a:cubicBezTo>
                  <a:pt x="2643334" y="2216753"/>
                  <a:pt x="2914225" y="2049399"/>
                  <a:pt x="3046718" y="1784318"/>
                </a:cubicBezTo>
                <a:lnTo>
                  <a:pt x="3177115" y="1523524"/>
                </a:lnTo>
                <a:cubicBezTo>
                  <a:pt x="3302464" y="1272350"/>
                  <a:pt x="3283890" y="973265"/>
                  <a:pt x="3128157" y="739616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026D715-43AD-42A9-9207-414F1FE183BB}"/>
              </a:ext>
            </a:extLst>
          </p:cNvPr>
          <p:cNvSpPr/>
          <p:nvPr/>
        </p:nvSpPr>
        <p:spPr>
          <a:xfrm>
            <a:off x="4461442" y="1632786"/>
            <a:ext cx="2960963" cy="2220922"/>
          </a:xfrm>
          <a:custGeom>
            <a:avLst/>
            <a:gdLst>
              <a:gd name="connsiteX0" fmla="*/ 1225868 w 1421891"/>
              <a:gd name="connsiteY0" fmla="*/ 124968 h 1066514"/>
              <a:gd name="connsiteX1" fmla="*/ 924211 w 1421891"/>
              <a:gd name="connsiteY1" fmla="*/ 0 h 1066514"/>
              <a:gd name="connsiteX2" fmla="*/ 568738 w 1421891"/>
              <a:gd name="connsiteY2" fmla="*/ 0 h 1066514"/>
              <a:gd name="connsiteX3" fmla="*/ 267081 w 1421891"/>
              <a:gd name="connsiteY3" fmla="*/ 124968 h 1066514"/>
              <a:gd name="connsiteX4" fmla="*/ 124873 w 1421891"/>
              <a:gd name="connsiteY4" fmla="*/ 267176 h 1066514"/>
              <a:gd name="connsiteX5" fmla="*/ 0 w 1421891"/>
              <a:gd name="connsiteY5" fmla="*/ 568833 h 1066514"/>
              <a:gd name="connsiteX6" fmla="*/ 0 w 1421891"/>
              <a:gd name="connsiteY6" fmla="*/ 639889 h 1066514"/>
              <a:gd name="connsiteX7" fmla="*/ 426530 w 1421891"/>
              <a:gd name="connsiteY7" fmla="*/ 1066514 h 1066514"/>
              <a:gd name="connsiteX8" fmla="*/ 995267 w 1421891"/>
              <a:gd name="connsiteY8" fmla="*/ 1066514 h 1066514"/>
              <a:gd name="connsiteX9" fmla="*/ 1421892 w 1421891"/>
              <a:gd name="connsiteY9" fmla="*/ 639889 h 1066514"/>
              <a:gd name="connsiteX10" fmla="*/ 1421892 w 1421891"/>
              <a:gd name="connsiteY10" fmla="*/ 497681 h 1066514"/>
              <a:gd name="connsiteX11" fmla="*/ 1296924 w 1421891"/>
              <a:gd name="connsiteY11" fmla="*/ 196025 h 1066514"/>
              <a:gd name="connsiteX12" fmla="*/ 1225868 w 1421891"/>
              <a:gd name="connsiteY12" fmla="*/ 124968 h 1066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21891" h="1066514">
                <a:moveTo>
                  <a:pt x="1225868" y="124968"/>
                </a:moveTo>
                <a:cubicBezTo>
                  <a:pt x="1145858" y="44958"/>
                  <a:pt x="1037368" y="0"/>
                  <a:pt x="924211" y="0"/>
                </a:cubicBezTo>
                <a:lnTo>
                  <a:pt x="568738" y="0"/>
                </a:lnTo>
                <a:cubicBezTo>
                  <a:pt x="455581" y="0"/>
                  <a:pt x="347091" y="44958"/>
                  <a:pt x="267081" y="124968"/>
                </a:cubicBezTo>
                <a:lnTo>
                  <a:pt x="124873" y="267176"/>
                </a:lnTo>
                <a:cubicBezTo>
                  <a:pt x="44863" y="347186"/>
                  <a:pt x="0" y="455676"/>
                  <a:pt x="0" y="568833"/>
                </a:cubicBezTo>
                <a:lnTo>
                  <a:pt x="0" y="639889"/>
                </a:lnTo>
                <a:cubicBezTo>
                  <a:pt x="0" y="875443"/>
                  <a:pt x="190976" y="1066514"/>
                  <a:pt x="426530" y="1066514"/>
                </a:cubicBezTo>
                <a:lnTo>
                  <a:pt x="995267" y="1066514"/>
                </a:lnTo>
                <a:cubicBezTo>
                  <a:pt x="1230916" y="1066514"/>
                  <a:pt x="1421892" y="875538"/>
                  <a:pt x="1421892" y="639889"/>
                </a:cubicBezTo>
                <a:lnTo>
                  <a:pt x="1421892" y="497681"/>
                </a:lnTo>
                <a:cubicBezTo>
                  <a:pt x="1421892" y="384524"/>
                  <a:pt x="1376934" y="276034"/>
                  <a:pt x="1296924" y="196025"/>
                </a:cubicBezTo>
                <a:lnTo>
                  <a:pt x="1225868" y="124968"/>
                </a:lnTo>
                <a:close/>
              </a:path>
            </a:pathLst>
          </a:custGeom>
          <a:solidFill>
            <a:srgbClr val="9645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93EEBA3-C9C5-4E87-AE8E-2DBF3F873EE4}"/>
              </a:ext>
            </a:extLst>
          </p:cNvPr>
          <p:cNvSpPr/>
          <p:nvPr/>
        </p:nvSpPr>
        <p:spPr>
          <a:xfrm>
            <a:off x="4042045" y="3949337"/>
            <a:ext cx="4107909" cy="2493995"/>
          </a:xfrm>
          <a:custGeom>
            <a:avLst/>
            <a:gdLst>
              <a:gd name="connsiteX0" fmla="*/ 3714447 w 3896475"/>
              <a:gd name="connsiteY0" fmla="*/ 1794796 h 2365629"/>
              <a:gd name="connsiteX1" fmla="*/ 3853607 w 3896475"/>
              <a:gd name="connsiteY1" fmla="*/ 1377315 h 2365629"/>
              <a:gd name="connsiteX2" fmla="*/ 3651869 w 3896475"/>
              <a:gd name="connsiteY2" fmla="*/ 522923 h 2365629"/>
              <a:gd name="connsiteX3" fmla="*/ 3373548 w 3896475"/>
              <a:gd name="connsiteY3" fmla="*/ 244602 h 2365629"/>
              <a:gd name="connsiteX4" fmla="*/ 2783188 w 3896475"/>
              <a:gd name="connsiteY4" fmla="*/ 0 h 2365629"/>
              <a:gd name="connsiteX5" fmla="*/ 1391681 w 3896475"/>
              <a:gd name="connsiteY5" fmla="*/ 0 h 2365629"/>
              <a:gd name="connsiteX6" fmla="*/ 890761 w 3896475"/>
              <a:gd name="connsiteY6" fmla="*/ 166973 h 2365629"/>
              <a:gd name="connsiteX7" fmla="*/ 334025 w 3896475"/>
              <a:gd name="connsiteY7" fmla="*/ 584454 h 2365629"/>
              <a:gd name="connsiteX8" fmla="*/ 88185 w 3896475"/>
              <a:gd name="connsiteY8" fmla="*/ 1625822 h 2365629"/>
              <a:gd name="connsiteX9" fmla="*/ 227345 w 3896475"/>
              <a:gd name="connsiteY9" fmla="*/ 1904048 h 2365629"/>
              <a:gd name="connsiteX10" fmla="*/ 974105 w 3896475"/>
              <a:gd name="connsiteY10" fmla="*/ 2365629 h 2365629"/>
              <a:gd name="connsiteX11" fmla="*/ 2922253 w 3896475"/>
              <a:gd name="connsiteY11" fmla="*/ 2365629 h 2365629"/>
              <a:gd name="connsiteX12" fmla="*/ 3714447 w 3896475"/>
              <a:gd name="connsiteY12" fmla="*/ 1794796 h 2365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896475" h="2365629">
                <a:moveTo>
                  <a:pt x="3714447" y="1794796"/>
                </a:moveTo>
                <a:lnTo>
                  <a:pt x="3853607" y="1377315"/>
                </a:lnTo>
                <a:cubicBezTo>
                  <a:pt x="3953620" y="1077278"/>
                  <a:pt x="3875515" y="746474"/>
                  <a:pt x="3651869" y="522923"/>
                </a:cubicBezTo>
                <a:lnTo>
                  <a:pt x="3373548" y="244602"/>
                </a:lnTo>
                <a:cubicBezTo>
                  <a:pt x="3217052" y="87916"/>
                  <a:pt x="3004645" y="0"/>
                  <a:pt x="2783188" y="0"/>
                </a:cubicBezTo>
                <a:lnTo>
                  <a:pt x="1391681" y="0"/>
                </a:lnTo>
                <a:cubicBezTo>
                  <a:pt x="1210992" y="0"/>
                  <a:pt x="1035255" y="58579"/>
                  <a:pt x="890761" y="166973"/>
                </a:cubicBezTo>
                <a:lnTo>
                  <a:pt x="334025" y="584454"/>
                </a:lnTo>
                <a:cubicBezTo>
                  <a:pt x="11223" y="826580"/>
                  <a:pt x="-92219" y="1264920"/>
                  <a:pt x="88185" y="1625822"/>
                </a:cubicBezTo>
                <a:lnTo>
                  <a:pt x="227345" y="1904048"/>
                </a:lnTo>
                <a:cubicBezTo>
                  <a:pt x="368791" y="2186940"/>
                  <a:pt x="657875" y="2365629"/>
                  <a:pt x="974105" y="2365629"/>
                </a:cubicBezTo>
                <a:lnTo>
                  <a:pt x="2922253" y="2365629"/>
                </a:lnTo>
                <a:cubicBezTo>
                  <a:pt x="3281727" y="2365629"/>
                  <a:pt x="3600815" y="2135696"/>
                  <a:pt x="3714447" y="1794796"/>
                </a:cubicBezTo>
                <a:close/>
              </a:path>
            </a:pathLst>
          </a:custGeom>
          <a:solidFill>
            <a:srgbClr val="88788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AFF57F8-01C6-44D0-A278-73D92D2B14C9}"/>
              </a:ext>
            </a:extLst>
          </p:cNvPr>
          <p:cNvSpPr/>
          <p:nvPr/>
        </p:nvSpPr>
        <p:spPr>
          <a:xfrm flipH="1">
            <a:off x="7498003" y="1628775"/>
            <a:ext cx="2872267" cy="2072335"/>
          </a:xfrm>
          <a:custGeom>
            <a:avLst/>
            <a:gdLst>
              <a:gd name="connsiteX0" fmla="*/ 2266569 w 2701599"/>
              <a:gd name="connsiteY0" fmla="*/ 214217 h 1949196"/>
              <a:gd name="connsiteX1" fmla="*/ 2004346 w 2701599"/>
              <a:gd name="connsiteY1" fmla="*/ 83058 h 1949196"/>
              <a:gd name="connsiteX2" fmla="*/ 1652492 w 2701599"/>
              <a:gd name="connsiteY2" fmla="*/ 0 h 1949196"/>
              <a:gd name="connsiteX3" fmla="*/ 1048893 w 2701599"/>
              <a:gd name="connsiteY3" fmla="*/ 0 h 1949196"/>
              <a:gd name="connsiteX4" fmla="*/ 492633 w 2701599"/>
              <a:gd name="connsiteY4" fmla="*/ 230410 h 1949196"/>
              <a:gd name="connsiteX5" fmla="*/ 230410 w 2701599"/>
              <a:gd name="connsiteY5" fmla="*/ 492728 h 1949196"/>
              <a:gd name="connsiteX6" fmla="*/ 0 w 2701599"/>
              <a:gd name="connsiteY6" fmla="*/ 1048988 h 1949196"/>
              <a:gd name="connsiteX7" fmla="*/ 0 w 2701599"/>
              <a:gd name="connsiteY7" fmla="*/ 1162526 h 1949196"/>
              <a:gd name="connsiteX8" fmla="*/ 786670 w 2701599"/>
              <a:gd name="connsiteY8" fmla="*/ 1949196 h 1949196"/>
              <a:gd name="connsiteX9" fmla="*/ 1835658 w 2701599"/>
              <a:gd name="connsiteY9" fmla="*/ 1949196 h 1949196"/>
              <a:gd name="connsiteX10" fmla="*/ 2582037 w 2701599"/>
              <a:gd name="connsiteY10" fmla="*/ 1411224 h 1949196"/>
              <a:gd name="connsiteX11" fmla="*/ 2661095 w 2701599"/>
              <a:gd name="connsiteY11" fmla="*/ 1166527 h 1949196"/>
              <a:gd name="connsiteX12" fmla="*/ 2266569 w 2701599"/>
              <a:gd name="connsiteY12" fmla="*/ 214217 h 1949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01599" h="1949196">
                <a:moveTo>
                  <a:pt x="2266569" y="214217"/>
                </a:moveTo>
                <a:lnTo>
                  <a:pt x="2004346" y="83058"/>
                </a:lnTo>
                <a:cubicBezTo>
                  <a:pt x="1895094" y="28480"/>
                  <a:pt x="1774603" y="0"/>
                  <a:pt x="1652492" y="0"/>
                </a:cubicBezTo>
                <a:lnTo>
                  <a:pt x="1048893" y="0"/>
                </a:lnTo>
                <a:cubicBezTo>
                  <a:pt x="840200" y="0"/>
                  <a:pt x="640080" y="82868"/>
                  <a:pt x="492633" y="230410"/>
                </a:cubicBezTo>
                <a:lnTo>
                  <a:pt x="230410" y="492728"/>
                </a:lnTo>
                <a:cubicBezTo>
                  <a:pt x="82868" y="640270"/>
                  <a:pt x="0" y="840391"/>
                  <a:pt x="0" y="1048988"/>
                </a:cubicBezTo>
                <a:lnTo>
                  <a:pt x="0" y="1162526"/>
                </a:lnTo>
                <a:cubicBezTo>
                  <a:pt x="0" y="1596962"/>
                  <a:pt x="352235" y="1949196"/>
                  <a:pt x="786670" y="1949196"/>
                </a:cubicBezTo>
                <a:lnTo>
                  <a:pt x="1835658" y="1949196"/>
                </a:lnTo>
                <a:cubicBezTo>
                  <a:pt x="2174272" y="1949196"/>
                  <a:pt x="2474881" y="1732502"/>
                  <a:pt x="2582037" y="1411224"/>
                </a:cubicBezTo>
                <a:lnTo>
                  <a:pt x="2661095" y="1166527"/>
                </a:lnTo>
                <a:cubicBezTo>
                  <a:pt x="2784920" y="795242"/>
                  <a:pt x="2616803" y="389382"/>
                  <a:pt x="2266569" y="214217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C63AE9-9FA2-41DD-87C6-43886025358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83790" y="4762338"/>
            <a:ext cx="2781452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>
                <a:solidFill>
                  <a:schemeClr val="bg1"/>
                </a:solidFill>
                <a:latin typeface="+mj-lt"/>
              </a:rPr>
              <a:t>no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participation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fee in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workshops</a:t>
            </a:r>
            <a:endParaRPr lang="en-GB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07139AE-D166-439F-8B3D-04037BEFD8C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61442" y="4486769"/>
            <a:ext cx="3324502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 err="1">
                <a:solidFill>
                  <a:schemeClr val="bg1"/>
                </a:solidFill>
                <a:latin typeface="+mj-lt"/>
              </a:rPr>
              <a:t>support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for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events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and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conferences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with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new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terms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</a:p>
          <a:p>
            <a:pPr lvl="0" algn="ctr">
              <a:defRPr/>
            </a:pPr>
            <a:r>
              <a:rPr lang="et-EE" sz="2400" dirty="0">
                <a:solidFill>
                  <a:schemeClr val="bg1"/>
                </a:solidFill>
                <a:latin typeface="+mj-lt"/>
              </a:rPr>
              <a:t>(2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mEUR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)</a:t>
            </a:r>
            <a:endParaRPr lang="en-GB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D1A610D-88B6-4795-A865-5E1AAEDC1F1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14193" y="2577881"/>
            <a:ext cx="2347913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 err="1">
                <a:solidFill>
                  <a:schemeClr val="accent1"/>
                </a:solidFill>
                <a:latin typeface="+mj-lt"/>
              </a:rPr>
              <a:t>wage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support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 (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march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 – 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june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)</a:t>
            </a:r>
            <a:endParaRPr lang="en-GB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C930861-30BB-4A2C-8213-0FD29CE3725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786867" y="2496275"/>
            <a:ext cx="2347913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 err="1">
                <a:solidFill>
                  <a:schemeClr val="bg1"/>
                </a:solidFill>
                <a:latin typeface="+mj-lt"/>
              </a:rPr>
              <a:t>direct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support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 (25 + 5 </a:t>
            </a:r>
            <a:r>
              <a:rPr lang="et-EE" sz="2400" dirty="0" err="1">
                <a:solidFill>
                  <a:schemeClr val="bg1"/>
                </a:solidFill>
                <a:latin typeface="+mj-lt"/>
              </a:rPr>
              <a:t>mEUR</a:t>
            </a:r>
            <a:r>
              <a:rPr lang="et-EE" sz="2400" dirty="0">
                <a:solidFill>
                  <a:schemeClr val="bg1"/>
                </a:solidFill>
                <a:latin typeface="+mj-lt"/>
              </a:rPr>
              <a:t>)</a:t>
            </a:r>
            <a:endParaRPr lang="en-GB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5701D0E-82AC-457D-A708-AD5667B5CC5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760179" y="2278599"/>
            <a:ext cx="2347913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 err="1">
                <a:solidFill>
                  <a:schemeClr val="accent1"/>
                </a:solidFill>
                <a:latin typeface="+mj-lt"/>
              </a:rPr>
              <a:t>business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model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support</a:t>
            </a:r>
            <a:endParaRPr lang="et-EE" sz="2400" dirty="0">
              <a:solidFill>
                <a:schemeClr val="accent1"/>
              </a:solidFill>
              <a:latin typeface="+mj-lt"/>
            </a:endParaRPr>
          </a:p>
          <a:p>
            <a:pPr lvl="0" algn="ctr">
              <a:defRPr/>
            </a:pPr>
            <a:r>
              <a:rPr lang="et-EE" sz="2400" dirty="0">
                <a:solidFill>
                  <a:schemeClr val="accent1"/>
                </a:solidFill>
                <a:latin typeface="+mj-lt"/>
              </a:rPr>
              <a:t>(4+4 </a:t>
            </a:r>
            <a:r>
              <a:rPr lang="et-EE" sz="2400" dirty="0" err="1">
                <a:solidFill>
                  <a:schemeClr val="accent1"/>
                </a:solidFill>
                <a:latin typeface="+mj-lt"/>
              </a:rPr>
              <a:t>mEUR</a:t>
            </a:r>
            <a:r>
              <a:rPr lang="et-EE" sz="2400" dirty="0">
                <a:solidFill>
                  <a:schemeClr val="accent1"/>
                </a:solidFill>
                <a:latin typeface="+mj-lt"/>
              </a:rPr>
              <a:t>)</a:t>
            </a:r>
            <a:endParaRPr lang="en-GB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3E6F41B-4CAD-4DFA-8993-E8A26155AA2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34135" y="4650610"/>
            <a:ext cx="2347913" cy="7057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lvl="0" algn="ctr">
              <a:defRPr/>
            </a:pPr>
            <a:r>
              <a:rPr lang="et-EE" sz="2400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destinations</a:t>
            </a:r>
            <a:r>
              <a:rPr lang="et-EE" sz="24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to</a:t>
            </a:r>
            <a:r>
              <a:rPr lang="et-EE" sz="24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et-EE" sz="2400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DMOs</a:t>
            </a:r>
            <a:endParaRPr lang="et-EE" sz="2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lvl="0" algn="ctr">
              <a:defRPr/>
            </a:pPr>
            <a:r>
              <a:rPr lang="et-EE" sz="24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(0,8 </a:t>
            </a:r>
            <a:r>
              <a:rPr lang="et-EE" sz="2400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mEUR</a:t>
            </a:r>
            <a:r>
              <a:rPr lang="et-EE" sz="24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)</a:t>
            </a:r>
            <a:endParaRPr lang="en-GB" sz="2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A7140CD-AD60-4693-9DAD-1E20FC63D7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758" y="0"/>
            <a:ext cx="1980354" cy="562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113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L_2OkubUcH_.LIwUCT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0"/>
</p:tagLst>
</file>

<file path=ppt/theme/theme1.xml><?xml version="1.0" encoding="utf-8"?>
<a:theme xmlns:a="http://schemas.openxmlformats.org/drawingml/2006/main" name="Master">
  <a:themeElements>
    <a:clrScheme name="EAS_CVI">
      <a:dk1>
        <a:srgbClr val="000000"/>
      </a:dk1>
      <a:lt1>
        <a:srgbClr val="FFFFFF"/>
      </a:lt1>
      <a:dk2>
        <a:srgbClr val="0078FF"/>
      </a:dk2>
      <a:lt2>
        <a:srgbClr val="FFFFFF"/>
      </a:lt2>
      <a:accent1>
        <a:srgbClr val="000096"/>
      </a:accent1>
      <a:accent2>
        <a:srgbClr val="65A580"/>
      </a:accent2>
      <a:accent3>
        <a:srgbClr val="FF4800"/>
      </a:accent3>
      <a:accent4>
        <a:srgbClr val="BAE6E8"/>
      </a:accent4>
      <a:accent5>
        <a:srgbClr val="FFCA9F"/>
      </a:accent5>
      <a:accent6>
        <a:srgbClr val="D2C3D4"/>
      </a:accent6>
      <a:hlink>
        <a:srgbClr val="000000"/>
      </a:hlink>
      <a:folHlink>
        <a:srgbClr val="000000"/>
      </a:folHlink>
    </a:clrScheme>
    <a:fontScheme name="Aino">
      <a:majorFont>
        <a:latin typeface="Aino Headline"/>
        <a:ea typeface=""/>
        <a:cs typeface=""/>
      </a:majorFont>
      <a:minorFont>
        <a:latin typeface="Ain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S_template (1).pptx" id="{A4181699-38BA-4543-AD7E-32B4AC28FAAD}" vid="{753D4F18-9DBE-4122-87F7-235F33DCB7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418398069FB6B40951F68293681E458" ma:contentTypeVersion="4" ma:contentTypeDescription="Loo uus dokument" ma:contentTypeScope="" ma:versionID="7bac9d248e70e127da06a48da89fa8e5">
  <xsd:schema xmlns:xsd="http://www.w3.org/2001/XMLSchema" xmlns:xs="http://www.w3.org/2001/XMLSchema" xmlns:p="http://schemas.microsoft.com/office/2006/metadata/properties" xmlns:ns2="f8b4dc2a-6c1a-4721-9437-12a2c0691f92" targetNamespace="http://schemas.microsoft.com/office/2006/metadata/properties" ma:root="true" ma:fieldsID="9f5a53a1c67a46c45ca235a7014f5b7c" ns2:_="">
    <xsd:import namespace="f8b4dc2a-6c1a-4721-9437-12a2c0691f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b4dc2a-6c1a-4721-9437-12a2c0691f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utüüp"/>
        <xsd:element ref="dc:title" minOccurs="0" maxOccurs="1" ma:index="4" ma:displayName="Pealkiri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B2D927-EC42-403E-9C76-BF8AC7F003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b4dc2a-6c1a-4721-9437-12a2c0691f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C8D920-6DD2-431F-A31D-EBAFBF3C24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08A581-51FA-4064-A6B2-B4C4BCA8B849}">
  <ds:schemaRefs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f8b4dc2a-6c1a-4721-9437-12a2c0691f9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STF_Estonian Tourist Board</Template>
  <TotalTime>0</TotalTime>
  <Words>295</Words>
  <Application>Microsoft Office PowerPoint</Application>
  <PresentationFormat>Widescreen</PresentationFormat>
  <Paragraphs>9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ino Headline</vt:lpstr>
      <vt:lpstr>Aino</vt:lpstr>
      <vt:lpstr>Calibri</vt:lpstr>
      <vt:lpstr>Master</vt:lpstr>
      <vt:lpstr>think-cell Slide</vt:lpstr>
      <vt:lpstr>Estonian tourism „new normal“</vt:lpstr>
      <vt:lpstr>PowerPoint Presentation</vt:lpstr>
      <vt:lpstr>PowerPoint Presentation</vt:lpstr>
      <vt:lpstr>PowerPoint Presentation</vt:lpstr>
      <vt:lpstr>5 campaigns in summer</vt:lpstr>
      <vt:lpstr>tourism decline - total (%) January to August, 2020 (YoY) </vt:lpstr>
      <vt:lpstr>making impossible possible – big international events</vt:lpstr>
      <vt:lpstr>safety label and desinfection stations</vt:lpstr>
      <vt:lpstr>state aid for tourism</vt:lpstr>
      <vt:lpstr>engaging sector</vt:lpstr>
      <vt:lpstr>our prioriti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1-10T17:36:00Z</dcterms:created>
  <dcterms:modified xsi:type="dcterms:W3CDTF">2020-11-10T19:30:45Z</dcterms:modified>
  <cp:version>1.0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418398069FB6B40951F68293681E458</vt:lpwstr>
  </property>
</Properties>
</file>